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</p:sldMasterIdLst>
  <p:notesMasterIdLst>
    <p:notesMasterId r:id="rId14"/>
  </p:notesMasterIdLst>
  <p:sldIdLst>
    <p:sldId id="363" r:id="rId2"/>
    <p:sldId id="388" r:id="rId3"/>
    <p:sldId id="391" r:id="rId4"/>
    <p:sldId id="381" r:id="rId5"/>
    <p:sldId id="382" r:id="rId6"/>
    <p:sldId id="390" r:id="rId7"/>
    <p:sldId id="383" r:id="rId8"/>
    <p:sldId id="384" r:id="rId9"/>
    <p:sldId id="385" r:id="rId10"/>
    <p:sldId id="386" r:id="rId11"/>
    <p:sldId id="387" r:id="rId12"/>
    <p:sldId id="389" r:id="rId13"/>
  </p:sldIdLst>
  <p:sldSz cx="24382413" cy="13716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6AF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5D195F1-7A7D-4CAD-A36F-C3AAEAE4FEE8}" v="52" dt="2021-05-20T12:43:16.232"/>
    <p1510:client id="{95F98119-89DC-4C08-987C-C0FC131B1EF6}" v="1" dt="2021-05-20T11:26:30.79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50" d="100"/>
          <a:sy n="50" d="100"/>
        </p:scale>
        <p:origin x="-1036" y="-16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uriy Krylov" userId="c9c5516e-9c57-410b-b963-ac3bad0cf92d" providerId="ADAL" clId="{95D195F1-7A7D-4CAD-A36F-C3AAEAE4FEE8}"/>
    <pc:docChg chg="undo custSel addSld delSld modSld sldOrd">
      <pc:chgData name="Yuriy Krylov" userId="c9c5516e-9c57-410b-b963-ac3bad0cf92d" providerId="ADAL" clId="{95D195F1-7A7D-4CAD-A36F-C3AAEAE4FEE8}" dt="2021-05-20T15:30:52.896" v="1181" actId="20577"/>
      <pc:docMkLst>
        <pc:docMk/>
      </pc:docMkLst>
      <pc:sldChg chg="del">
        <pc:chgData name="Yuriy Krylov" userId="c9c5516e-9c57-410b-b963-ac3bad0cf92d" providerId="ADAL" clId="{95D195F1-7A7D-4CAD-A36F-C3AAEAE4FEE8}" dt="2021-05-20T11:35:21.462" v="97" actId="47"/>
        <pc:sldMkLst>
          <pc:docMk/>
          <pc:sldMk cId="1176329853" sldId="359"/>
        </pc:sldMkLst>
      </pc:sldChg>
      <pc:sldChg chg="delSp modSp mod">
        <pc:chgData name="Yuriy Krylov" userId="c9c5516e-9c57-410b-b963-ac3bad0cf92d" providerId="ADAL" clId="{95D195F1-7A7D-4CAD-A36F-C3AAEAE4FEE8}" dt="2021-05-20T15:30:52.896" v="1181" actId="20577"/>
        <pc:sldMkLst>
          <pc:docMk/>
          <pc:sldMk cId="99917838" sldId="363"/>
        </pc:sldMkLst>
        <pc:spChg chg="mod">
          <ac:chgData name="Yuriy Krylov" userId="c9c5516e-9c57-410b-b963-ac3bad0cf92d" providerId="ADAL" clId="{95D195F1-7A7D-4CAD-A36F-C3AAEAE4FEE8}" dt="2021-05-20T11:31:05.105" v="0"/>
          <ac:spMkLst>
            <pc:docMk/>
            <pc:sldMk cId="99917838" sldId="363"/>
            <ac:spMk id="2" creationId="{00000000-0000-0000-0000-000000000000}"/>
          </ac:spMkLst>
        </pc:spChg>
        <pc:spChg chg="mod">
          <ac:chgData name="Yuriy Krylov" userId="c9c5516e-9c57-410b-b963-ac3bad0cf92d" providerId="ADAL" clId="{95D195F1-7A7D-4CAD-A36F-C3AAEAE4FEE8}" dt="2021-05-20T15:30:52.896" v="1181" actId="20577"/>
          <ac:spMkLst>
            <pc:docMk/>
            <pc:sldMk cId="99917838" sldId="363"/>
            <ac:spMk id="5" creationId="{9FE1F116-C1E4-4C8D-9F3A-FB5A9266A23A}"/>
          </ac:spMkLst>
        </pc:spChg>
        <pc:picChg chg="del">
          <ac:chgData name="Yuriy Krylov" userId="c9c5516e-9c57-410b-b963-ac3bad0cf92d" providerId="ADAL" clId="{95D195F1-7A7D-4CAD-A36F-C3AAEAE4FEE8}" dt="2021-05-20T11:31:58.044" v="2" actId="478"/>
          <ac:picMkLst>
            <pc:docMk/>
            <pc:sldMk cId="99917838" sldId="363"/>
            <ac:picMk id="21" creationId="{ED129389-0F53-4844-AA2E-703A6F426CD8}"/>
          </ac:picMkLst>
        </pc:picChg>
      </pc:sldChg>
      <pc:sldChg chg="addSp delSp modSp del mod ord modShow">
        <pc:chgData name="Yuriy Krylov" userId="c9c5516e-9c57-410b-b963-ac3bad0cf92d" providerId="ADAL" clId="{95D195F1-7A7D-4CAD-A36F-C3AAEAE4FEE8}" dt="2021-05-20T14:15:08.572" v="1027" actId="47"/>
        <pc:sldMkLst>
          <pc:docMk/>
          <pc:sldMk cId="2178895775" sldId="364"/>
        </pc:sldMkLst>
        <pc:spChg chg="mod">
          <ac:chgData name="Yuriy Krylov" userId="c9c5516e-9c57-410b-b963-ac3bad0cf92d" providerId="ADAL" clId="{95D195F1-7A7D-4CAD-A36F-C3AAEAE4FEE8}" dt="2021-05-20T11:34:53.838" v="63" actId="20577"/>
          <ac:spMkLst>
            <pc:docMk/>
            <pc:sldMk cId="2178895775" sldId="364"/>
            <ac:spMk id="2" creationId="{00000000-0000-0000-0000-000000000000}"/>
          </ac:spMkLst>
        </pc:spChg>
        <pc:spChg chg="del">
          <ac:chgData name="Yuriy Krylov" userId="c9c5516e-9c57-410b-b963-ac3bad0cf92d" providerId="ADAL" clId="{95D195F1-7A7D-4CAD-A36F-C3AAEAE4FEE8}" dt="2021-05-20T11:35:00.274" v="64" actId="478"/>
          <ac:spMkLst>
            <pc:docMk/>
            <pc:sldMk cId="2178895775" sldId="364"/>
            <ac:spMk id="3" creationId="{7E275304-B73C-4E72-8223-500C8DB2F770}"/>
          </ac:spMkLst>
        </pc:spChg>
        <pc:spChg chg="add del mod">
          <ac:chgData name="Yuriy Krylov" userId="c9c5516e-9c57-410b-b963-ac3bad0cf92d" providerId="ADAL" clId="{95D195F1-7A7D-4CAD-A36F-C3AAEAE4FEE8}" dt="2021-05-20T11:35:04.809" v="65" actId="478"/>
          <ac:spMkLst>
            <pc:docMk/>
            <pc:sldMk cId="2178895775" sldId="364"/>
            <ac:spMk id="5" creationId="{3E938184-9488-41D4-BBC1-2BEACF97C8B5}"/>
          </ac:spMkLst>
        </pc:spChg>
        <pc:graphicFrameChg chg="del">
          <ac:chgData name="Yuriy Krylov" userId="c9c5516e-9c57-410b-b963-ac3bad0cf92d" providerId="ADAL" clId="{95D195F1-7A7D-4CAD-A36F-C3AAEAE4FEE8}" dt="2021-05-20T11:32:18.202" v="5" actId="478"/>
          <ac:graphicFrameMkLst>
            <pc:docMk/>
            <pc:sldMk cId="2178895775" sldId="364"/>
            <ac:graphicFrameMk id="10" creationId="{AE3981D4-53A1-4758-8012-BEA1966D5E81}"/>
          </ac:graphicFrameMkLst>
        </pc:graphicFrameChg>
        <pc:picChg chg="add mod">
          <ac:chgData name="Yuriy Krylov" userId="c9c5516e-9c57-410b-b963-ac3bad0cf92d" providerId="ADAL" clId="{95D195F1-7A7D-4CAD-A36F-C3AAEAE4FEE8}" dt="2021-05-20T11:35:13.117" v="96" actId="1037"/>
          <ac:picMkLst>
            <pc:docMk/>
            <pc:sldMk cId="2178895775" sldId="364"/>
            <ac:picMk id="11" creationId="{F11E6803-C619-42A0-B91B-9AE2C1378622}"/>
          </ac:picMkLst>
        </pc:picChg>
        <pc:picChg chg="del">
          <ac:chgData name="Yuriy Krylov" userId="c9c5516e-9c57-410b-b963-ac3bad0cf92d" providerId="ADAL" clId="{95D195F1-7A7D-4CAD-A36F-C3AAEAE4FEE8}" dt="2021-05-20T11:32:14.671" v="4" actId="478"/>
          <ac:picMkLst>
            <pc:docMk/>
            <pc:sldMk cId="2178895775" sldId="364"/>
            <ac:picMk id="21" creationId="{ED129389-0F53-4844-AA2E-703A6F426CD8}"/>
          </ac:picMkLst>
        </pc:picChg>
      </pc:sldChg>
      <pc:sldChg chg="del">
        <pc:chgData name="Yuriy Krylov" userId="c9c5516e-9c57-410b-b963-ac3bad0cf92d" providerId="ADAL" clId="{95D195F1-7A7D-4CAD-A36F-C3AAEAE4FEE8}" dt="2021-05-20T12:04:28.509" v="769" actId="47"/>
        <pc:sldMkLst>
          <pc:docMk/>
          <pc:sldMk cId="2766149328" sldId="365"/>
        </pc:sldMkLst>
      </pc:sldChg>
      <pc:sldChg chg="del">
        <pc:chgData name="Yuriy Krylov" userId="c9c5516e-9c57-410b-b963-ac3bad0cf92d" providerId="ADAL" clId="{95D195F1-7A7D-4CAD-A36F-C3AAEAE4FEE8}" dt="2021-05-20T12:04:28.509" v="769" actId="47"/>
        <pc:sldMkLst>
          <pc:docMk/>
          <pc:sldMk cId="917609995" sldId="366"/>
        </pc:sldMkLst>
      </pc:sldChg>
      <pc:sldChg chg="del">
        <pc:chgData name="Yuriy Krylov" userId="c9c5516e-9c57-410b-b963-ac3bad0cf92d" providerId="ADAL" clId="{95D195F1-7A7D-4CAD-A36F-C3AAEAE4FEE8}" dt="2021-05-20T12:04:28.509" v="769" actId="47"/>
        <pc:sldMkLst>
          <pc:docMk/>
          <pc:sldMk cId="3643686377" sldId="367"/>
        </pc:sldMkLst>
      </pc:sldChg>
      <pc:sldChg chg="del">
        <pc:chgData name="Yuriy Krylov" userId="c9c5516e-9c57-410b-b963-ac3bad0cf92d" providerId="ADAL" clId="{95D195F1-7A7D-4CAD-A36F-C3AAEAE4FEE8}" dt="2021-05-20T12:04:28.509" v="769" actId="47"/>
        <pc:sldMkLst>
          <pc:docMk/>
          <pc:sldMk cId="820453144" sldId="368"/>
        </pc:sldMkLst>
      </pc:sldChg>
      <pc:sldChg chg="del">
        <pc:chgData name="Yuriy Krylov" userId="c9c5516e-9c57-410b-b963-ac3bad0cf92d" providerId="ADAL" clId="{95D195F1-7A7D-4CAD-A36F-C3AAEAE4FEE8}" dt="2021-05-20T12:04:28.509" v="769" actId="47"/>
        <pc:sldMkLst>
          <pc:docMk/>
          <pc:sldMk cId="3235287018" sldId="369"/>
        </pc:sldMkLst>
      </pc:sldChg>
      <pc:sldChg chg="del">
        <pc:chgData name="Yuriy Krylov" userId="c9c5516e-9c57-410b-b963-ac3bad0cf92d" providerId="ADAL" clId="{95D195F1-7A7D-4CAD-A36F-C3AAEAE4FEE8}" dt="2021-05-20T12:04:28.509" v="769" actId="47"/>
        <pc:sldMkLst>
          <pc:docMk/>
          <pc:sldMk cId="3158944169" sldId="370"/>
        </pc:sldMkLst>
      </pc:sldChg>
      <pc:sldChg chg="del">
        <pc:chgData name="Yuriy Krylov" userId="c9c5516e-9c57-410b-b963-ac3bad0cf92d" providerId="ADAL" clId="{95D195F1-7A7D-4CAD-A36F-C3AAEAE4FEE8}" dt="2021-05-20T12:04:28.509" v="769" actId="47"/>
        <pc:sldMkLst>
          <pc:docMk/>
          <pc:sldMk cId="1267076221" sldId="371"/>
        </pc:sldMkLst>
      </pc:sldChg>
      <pc:sldChg chg="del">
        <pc:chgData name="Yuriy Krylov" userId="c9c5516e-9c57-410b-b963-ac3bad0cf92d" providerId="ADAL" clId="{95D195F1-7A7D-4CAD-A36F-C3AAEAE4FEE8}" dt="2021-05-20T12:04:28.509" v="769" actId="47"/>
        <pc:sldMkLst>
          <pc:docMk/>
          <pc:sldMk cId="2406176685" sldId="372"/>
        </pc:sldMkLst>
      </pc:sldChg>
      <pc:sldChg chg="del">
        <pc:chgData name="Yuriy Krylov" userId="c9c5516e-9c57-410b-b963-ac3bad0cf92d" providerId="ADAL" clId="{95D195F1-7A7D-4CAD-A36F-C3AAEAE4FEE8}" dt="2021-05-20T12:04:28.509" v="769" actId="47"/>
        <pc:sldMkLst>
          <pc:docMk/>
          <pc:sldMk cId="1397905258" sldId="373"/>
        </pc:sldMkLst>
      </pc:sldChg>
      <pc:sldChg chg="del">
        <pc:chgData name="Yuriy Krylov" userId="c9c5516e-9c57-410b-b963-ac3bad0cf92d" providerId="ADAL" clId="{95D195F1-7A7D-4CAD-A36F-C3AAEAE4FEE8}" dt="2021-05-20T12:04:28.509" v="769" actId="47"/>
        <pc:sldMkLst>
          <pc:docMk/>
          <pc:sldMk cId="1027939410" sldId="374"/>
        </pc:sldMkLst>
      </pc:sldChg>
      <pc:sldChg chg="del">
        <pc:chgData name="Yuriy Krylov" userId="c9c5516e-9c57-410b-b963-ac3bad0cf92d" providerId="ADAL" clId="{95D195F1-7A7D-4CAD-A36F-C3AAEAE4FEE8}" dt="2021-05-20T12:04:28.509" v="769" actId="47"/>
        <pc:sldMkLst>
          <pc:docMk/>
          <pc:sldMk cId="4006411212" sldId="375"/>
        </pc:sldMkLst>
      </pc:sldChg>
      <pc:sldChg chg="del">
        <pc:chgData name="Yuriy Krylov" userId="c9c5516e-9c57-410b-b963-ac3bad0cf92d" providerId="ADAL" clId="{95D195F1-7A7D-4CAD-A36F-C3AAEAE4FEE8}" dt="2021-05-20T12:04:28.509" v="769" actId="47"/>
        <pc:sldMkLst>
          <pc:docMk/>
          <pc:sldMk cId="832914671" sldId="376"/>
        </pc:sldMkLst>
      </pc:sldChg>
      <pc:sldChg chg="del">
        <pc:chgData name="Yuriy Krylov" userId="c9c5516e-9c57-410b-b963-ac3bad0cf92d" providerId="ADAL" clId="{95D195F1-7A7D-4CAD-A36F-C3AAEAE4FEE8}" dt="2021-05-20T12:04:28.509" v="769" actId="47"/>
        <pc:sldMkLst>
          <pc:docMk/>
          <pc:sldMk cId="454475845" sldId="377"/>
        </pc:sldMkLst>
      </pc:sldChg>
      <pc:sldChg chg="del">
        <pc:chgData name="Yuriy Krylov" userId="c9c5516e-9c57-410b-b963-ac3bad0cf92d" providerId="ADAL" clId="{95D195F1-7A7D-4CAD-A36F-C3AAEAE4FEE8}" dt="2021-05-20T12:04:28.509" v="769" actId="47"/>
        <pc:sldMkLst>
          <pc:docMk/>
          <pc:sldMk cId="1874937129" sldId="378"/>
        </pc:sldMkLst>
      </pc:sldChg>
      <pc:sldChg chg="del">
        <pc:chgData name="Yuriy Krylov" userId="c9c5516e-9c57-410b-b963-ac3bad0cf92d" providerId="ADAL" clId="{95D195F1-7A7D-4CAD-A36F-C3AAEAE4FEE8}" dt="2021-05-20T12:04:28.509" v="769" actId="47"/>
        <pc:sldMkLst>
          <pc:docMk/>
          <pc:sldMk cId="1601473673" sldId="379"/>
        </pc:sldMkLst>
      </pc:sldChg>
      <pc:sldChg chg="del">
        <pc:chgData name="Yuriy Krylov" userId="c9c5516e-9c57-410b-b963-ac3bad0cf92d" providerId="ADAL" clId="{95D195F1-7A7D-4CAD-A36F-C3AAEAE4FEE8}" dt="2021-05-20T12:04:28.509" v="769" actId="47"/>
        <pc:sldMkLst>
          <pc:docMk/>
          <pc:sldMk cId="1247361749" sldId="380"/>
        </pc:sldMkLst>
      </pc:sldChg>
      <pc:sldChg chg="del">
        <pc:chgData name="Yuriy Krylov" userId="c9c5516e-9c57-410b-b963-ac3bad0cf92d" providerId="ADAL" clId="{95D195F1-7A7D-4CAD-A36F-C3AAEAE4FEE8}" dt="2021-05-20T11:32:07.659" v="3" actId="47"/>
        <pc:sldMkLst>
          <pc:docMk/>
          <pc:sldMk cId="1142778402" sldId="381"/>
        </pc:sldMkLst>
      </pc:sldChg>
      <pc:sldChg chg="addSp delSp modSp new mod">
        <pc:chgData name="Yuriy Krylov" userId="c9c5516e-9c57-410b-b963-ac3bad0cf92d" providerId="ADAL" clId="{95D195F1-7A7D-4CAD-A36F-C3AAEAE4FEE8}" dt="2021-05-20T14:32:11.072" v="1054" actId="20577"/>
        <pc:sldMkLst>
          <pc:docMk/>
          <pc:sldMk cId="2341896199" sldId="381"/>
        </pc:sldMkLst>
        <pc:spChg chg="mod">
          <ac:chgData name="Yuriy Krylov" userId="c9c5516e-9c57-410b-b963-ac3bad0cf92d" providerId="ADAL" clId="{95D195F1-7A7D-4CAD-A36F-C3AAEAE4FEE8}" dt="2021-05-20T14:32:11.072" v="1054" actId="20577"/>
          <ac:spMkLst>
            <pc:docMk/>
            <pc:sldMk cId="2341896199" sldId="381"/>
            <ac:spMk id="2" creationId="{8E5F11E4-2E1B-4759-84F5-651E050FB22F}"/>
          </ac:spMkLst>
        </pc:spChg>
        <pc:spChg chg="del">
          <ac:chgData name="Yuriy Krylov" userId="c9c5516e-9c57-410b-b963-ac3bad0cf92d" providerId="ADAL" clId="{95D195F1-7A7D-4CAD-A36F-C3AAEAE4FEE8}" dt="2021-05-20T11:35:49.495" v="99" actId="478"/>
          <ac:spMkLst>
            <pc:docMk/>
            <pc:sldMk cId="2341896199" sldId="381"/>
            <ac:spMk id="3" creationId="{0B358916-6F49-4342-B539-F82382A6FCE2}"/>
          </ac:spMkLst>
        </pc:spChg>
        <pc:picChg chg="add mod">
          <ac:chgData name="Yuriy Krylov" userId="c9c5516e-9c57-410b-b963-ac3bad0cf92d" providerId="ADAL" clId="{95D195F1-7A7D-4CAD-A36F-C3AAEAE4FEE8}" dt="2021-05-20T11:36:33.568" v="138" actId="1037"/>
          <ac:picMkLst>
            <pc:docMk/>
            <pc:sldMk cId="2341896199" sldId="381"/>
            <ac:picMk id="4" creationId="{E40B0367-7611-4D9C-995E-328E34EC5A2B}"/>
          </ac:picMkLst>
        </pc:picChg>
      </pc:sldChg>
      <pc:sldChg chg="addSp delSp modSp new mod">
        <pc:chgData name="Yuriy Krylov" userId="c9c5516e-9c57-410b-b963-ac3bad0cf92d" providerId="ADAL" clId="{95D195F1-7A7D-4CAD-A36F-C3AAEAE4FEE8}" dt="2021-05-20T11:37:27.717" v="145"/>
        <pc:sldMkLst>
          <pc:docMk/>
          <pc:sldMk cId="40862736" sldId="382"/>
        </pc:sldMkLst>
        <pc:spChg chg="mod">
          <ac:chgData name="Yuriy Krylov" userId="c9c5516e-9c57-410b-b963-ac3bad0cf92d" providerId="ADAL" clId="{95D195F1-7A7D-4CAD-A36F-C3AAEAE4FEE8}" dt="2021-05-20T11:37:27.717" v="145"/>
          <ac:spMkLst>
            <pc:docMk/>
            <pc:sldMk cId="40862736" sldId="382"/>
            <ac:spMk id="2" creationId="{004607BC-FC54-4795-8999-034D5C348D89}"/>
          </ac:spMkLst>
        </pc:spChg>
        <pc:spChg chg="del">
          <ac:chgData name="Yuriy Krylov" userId="c9c5516e-9c57-410b-b963-ac3bad0cf92d" providerId="ADAL" clId="{95D195F1-7A7D-4CAD-A36F-C3AAEAE4FEE8}" dt="2021-05-20T11:37:00.183" v="140" actId="478"/>
          <ac:spMkLst>
            <pc:docMk/>
            <pc:sldMk cId="40862736" sldId="382"/>
            <ac:spMk id="3" creationId="{6A0A8BD0-2539-4F15-A786-3C605FDED8E1}"/>
          </ac:spMkLst>
        </pc:spChg>
        <pc:picChg chg="add mod">
          <ac:chgData name="Yuriy Krylov" userId="c9c5516e-9c57-410b-b963-ac3bad0cf92d" providerId="ADAL" clId="{95D195F1-7A7D-4CAD-A36F-C3AAEAE4FEE8}" dt="2021-05-20T11:37:09.700" v="144" actId="14100"/>
          <ac:picMkLst>
            <pc:docMk/>
            <pc:sldMk cId="40862736" sldId="382"/>
            <ac:picMk id="4" creationId="{B644FE47-3E57-43B7-8D51-D5891F094498}"/>
          </ac:picMkLst>
        </pc:picChg>
      </pc:sldChg>
      <pc:sldChg chg="addSp delSp modSp new mod">
        <pc:chgData name="Yuriy Krylov" userId="c9c5516e-9c57-410b-b963-ac3bad0cf92d" providerId="ADAL" clId="{95D195F1-7A7D-4CAD-A36F-C3AAEAE4FEE8}" dt="2021-05-20T11:40:14.843" v="165"/>
        <pc:sldMkLst>
          <pc:docMk/>
          <pc:sldMk cId="3984515155" sldId="383"/>
        </pc:sldMkLst>
        <pc:spChg chg="mod">
          <ac:chgData name="Yuriy Krylov" userId="c9c5516e-9c57-410b-b963-ac3bad0cf92d" providerId="ADAL" clId="{95D195F1-7A7D-4CAD-A36F-C3AAEAE4FEE8}" dt="2021-05-20T11:40:14.843" v="165"/>
          <ac:spMkLst>
            <pc:docMk/>
            <pc:sldMk cId="3984515155" sldId="383"/>
            <ac:spMk id="2" creationId="{82D92543-2759-4F2A-8407-C20F3DEF8D62}"/>
          </ac:spMkLst>
        </pc:spChg>
        <pc:spChg chg="del">
          <ac:chgData name="Yuriy Krylov" userId="c9c5516e-9c57-410b-b963-ac3bad0cf92d" providerId="ADAL" clId="{95D195F1-7A7D-4CAD-A36F-C3AAEAE4FEE8}" dt="2021-05-20T11:38:44.159" v="147" actId="478"/>
          <ac:spMkLst>
            <pc:docMk/>
            <pc:sldMk cId="3984515155" sldId="383"/>
            <ac:spMk id="3" creationId="{C88D5342-96AC-4E57-9264-1C11D8F4E7F5}"/>
          </ac:spMkLst>
        </pc:spChg>
        <pc:picChg chg="add mod modCrop">
          <ac:chgData name="Yuriy Krylov" userId="c9c5516e-9c57-410b-b963-ac3bad0cf92d" providerId="ADAL" clId="{95D195F1-7A7D-4CAD-A36F-C3AAEAE4FEE8}" dt="2021-05-20T11:39:42.185" v="162" actId="14100"/>
          <ac:picMkLst>
            <pc:docMk/>
            <pc:sldMk cId="3984515155" sldId="383"/>
            <ac:picMk id="4" creationId="{2F9E666E-F029-4733-9082-DCB120D16AAF}"/>
          </ac:picMkLst>
        </pc:picChg>
      </pc:sldChg>
      <pc:sldChg chg="addSp delSp modSp new mod">
        <pc:chgData name="Yuriy Krylov" userId="c9c5516e-9c57-410b-b963-ac3bad0cf92d" providerId="ADAL" clId="{95D195F1-7A7D-4CAD-A36F-C3AAEAE4FEE8}" dt="2021-05-20T11:41:43.934" v="179"/>
        <pc:sldMkLst>
          <pc:docMk/>
          <pc:sldMk cId="101454291" sldId="384"/>
        </pc:sldMkLst>
        <pc:spChg chg="mod">
          <ac:chgData name="Yuriy Krylov" userId="c9c5516e-9c57-410b-b963-ac3bad0cf92d" providerId="ADAL" clId="{95D195F1-7A7D-4CAD-A36F-C3AAEAE4FEE8}" dt="2021-05-20T11:41:43.934" v="179"/>
          <ac:spMkLst>
            <pc:docMk/>
            <pc:sldMk cId="101454291" sldId="384"/>
            <ac:spMk id="2" creationId="{47865CF9-89C7-4A1D-8DE9-C88B68E0908E}"/>
          </ac:spMkLst>
        </pc:spChg>
        <pc:spChg chg="del">
          <ac:chgData name="Yuriy Krylov" userId="c9c5516e-9c57-410b-b963-ac3bad0cf92d" providerId="ADAL" clId="{95D195F1-7A7D-4CAD-A36F-C3AAEAE4FEE8}" dt="2021-05-20T11:41:01.033" v="167" actId="478"/>
          <ac:spMkLst>
            <pc:docMk/>
            <pc:sldMk cId="101454291" sldId="384"/>
            <ac:spMk id="3" creationId="{9E0EA61C-B6E1-4CD8-8DC1-9C1B4ABD6E95}"/>
          </ac:spMkLst>
        </pc:spChg>
        <pc:picChg chg="add mod modCrop">
          <ac:chgData name="Yuriy Krylov" userId="c9c5516e-9c57-410b-b963-ac3bad0cf92d" providerId="ADAL" clId="{95D195F1-7A7D-4CAD-A36F-C3AAEAE4FEE8}" dt="2021-05-20T11:41:28.377" v="178" actId="1076"/>
          <ac:picMkLst>
            <pc:docMk/>
            <pc:sldMk cId="101454291" sldId="384"/>
            <ac:picMk id="4" creationId="{A6588B1B-3DDE-4CD1-A9A4-AA6DFE00C92E}"/>
          </ac:picMkLst>
        </pc:picChg>
      </pc:sldChg>
      <pc:sldChg chg="addSp delSp modSp new mod">
        <pc:chgData name="Yuriy Krylov" userId="c9c5516e-9c57-410b-b963-ac3bad0cf92d" providerId="ADAL" clId="{95D195F1-7A7D-4CAD-A36F-C3AAEAE4FEE8}" dt="2021-05-20T12:00:45.804" v="439"/>
        <pc:sldMkLst>
          <pc:docMk/>
          <pc:sldMk cId="43498391" sldId="385"/>
        </pc:sldMkLst>
        <pc:spChg chg="mod">
          <ac:chgData name="Yuriy Krylov" userId="c9c5516e-9c57-410b-b963-ac3bad0cf92d" providerId="ADAL" clId="{95D195F1-7A7D-4CAD-A36F-C3AAEAE4FEE8}" dt="2021-05-20T11:43:20.726" v="186"/>
          <ac:spMkLst>
            <pc:docMk/>
            <pc:sldMk cId="43498391" sldId="385"/>
            <ac:spMk id="2" creationId="{9C0E4875-9DC5-47B7-9727-6561A9D7367D}"/>
          </ac:spMkLst>
        </pc:spChg>
        <pc:spChg chg="del">
          <ac:chgData name="Yuriy Krylov" userId="c9c5516e-9c57-410b-b963-ac3bad0cf92d" providerId="ADAL" clId="{95D195F1-7A7D-4CAD-A36F-C3AAEAE4FEE8}" dt="2021-05-20T11:42:54.659" v="181" actId="478"/>
          <ac:spMkLst>
            <pc:docMk/>
            <pc:sldMk cId="43498391" sldId="385"/>
            <ac:spMk id="3" creationId="{E4EC8524-8923-41D2-AADF-9168CFFED464}"/>
          </ac:spMkLst>
        </pc:spChg>
        <pc:spChg chg="add mod">
          <ac:chgData name="Yuriy Krylov" userId="c9c5516e-9c57-410b-b963-ac3bad0cf92d" providerId="ADAL" clId="{95D195F1-7A7D-4CAD-A36F-C3AAEAE4FEE8}" dt="2021-05-20T12:00:32.842" v="437" actId="20577"/>
          <ac:spMkLst>
            <pc:docMk/>
            <pc:sldMk cId="43498391" sldId="385"/>
            <ac:spMk id="5" creationId="{3292B6A9-6A02-4549-9D5C-DC72D6875F23}"/>
          </ac:spMkLst>
        </pc:spChg>
        <pc:spChg chg="add mod">
          <ac:chgData name="Yuriy Krylov" userId="c9c5516e-9c57-410b-b963-ac3bad0cf92d" providerId="ADAL" clId="{95D195F1-7A7D-4CAD-A36F-C3AAEAE4FEE8}" dt="2021-05-20T12:00:41.067" v="438"/>
          <ac:spMkLst>
            <pc:docMk/>
            <pc:sldMk cId="43498391" sldId="385"/>
            <ac:spMk id="6" creationId="{08154A95-92AE-4989-A14E-E9C74F88E0FA}"/>
          </ac:spMkLst>
        </pc:spChg>
        <pc:spChg chg="add mod">
          <ac:chgData name="Yuriy Krylov" userId="c9c5516e-9c57-410b-b963-ac3bad0cf92d" providerId="ADAL" clId="{95D195F1-7A7D-4CAD-A36F-C3AAEAE4FEE8}" dt="2021-05-20T12:00:45.804" v="439"/>
          <ac:spMkLst>
            <pc:docMk/>
            <pc:sldMk cId="43498391" sldId="385"/>
            <ac:spMk id="7" creationId="{3194BBC7-6707-4D42-82AC-8198EFB2D9FE}"/>
          </ac:spMkLst>
        </pc:spChg>
        <pc:picChg chg="add mod modCrop">
          <ac:chgData name="Yuriy Krylov" userId="c9c5516e-9c57-410b-b963-ac3bad0cf92d" providerId="ADAL" clId="{95D195F1-7A7D-4CAD-A36F-C3AAEAE4FEE8}" dt="2021-05-20T11:46:29.193" v="278" actId="732"/>
          <ac:picMkLst>
            <pc:docMk/>
            <pc:sldMk cId="43498391" sldId="385"/>
            <ac:picMk id="4" creationId="{72126734-3582-4CCF-902D-DB650E883758}"/>
          </ac:picMkLst>
        </pc:picChg>
      </pc:sldChg>
      <pc:sldChg chg="addSp delSp modSp new mod">
        <pc:chgData name="Yuriy Krylov" userId="c9c5516e-9c57-410b-b963-ac3bad0cf92d" providerId="ADAL" clId="{95D195F1-7A7D-4CAD-A36F-C3AAEAE4FEE8}" dt="2021-05-20T11:45:01.637" v="247" actId="20577"/>
        <pc:sldMkLst>
          <pc:docMk/>
          <pc:sldMk cId="1874947674" sldId="386"/>
        </pc:sldMkLst>
        <pc:spChg chg="mod">
          <ac:chgData name="Yuriy Krylov" userId="c9c5516e-9c57-410b-b963-ac3bad0cf92d" providerId="ADAL" clId="{95D195F1-7A7D-4CAD-A36F-C3AAEAE4FEE8}" dt="2021-05-20T11:45:01.637" v="247" actId="20577"/>
          <ac:spMkLst>
            <pc:docMk/>
            <pc:sldMk cId="1874947674" sldId="386"/>
            <ac:spMk id="2" creationId="{36EE22B1-BAA9-4802-AAA3-979305A80348}"/>
          </ac:spMkLst>
        </pc:spChg>
        <pc:spChg chg="del">
          <ac:chgData name="Yuriy Krylov" userId="c9c5516e-9c57-410b-b963-ac3bad0cf92d" providerId="ADAL" clId="{95D195F1-7A7D-4CAD-A36F-C3AAEAE4FEE8}" dt="2021-05-20T11:44:07.181" v="194" actId="478"/>
          <ac:spMkLst>
            <pc:docMk/>
            <pc:sldMk cId="1874947674" sldId="386"/>
            <ac:spMk id="3" creationId="{D9CFE18A-AFA8-4996-A8EA-C8E1FE158AF4}"/>
          </ac:spMkLst>
        </pc:spChg>
        <pc:picChg chg="add mod modCrop">
          <ac:chgData name="Yuriy Krylov" userId="c9c5516e-9c57-410b-b963-ac3bad0cf92d" providerId="ADAL" clId="{95D195F1-7A7D-4CAD-A36F-C3AAEAE4FEE8}" dt="2021-05-20T11:44:46.743" v="233" actId="1076"/>
          <ac:picMkLst>
            <pc:docMk/>
            <pc:sldMk cId="1874947674" sldId="386"/>
            <ac:picMk id="4" creationId="{370C52FD-44EB-4DC2-9602-5BDD24441E03}"/>
          </ac:picMkLst>
        </pc:picChg>
      </pc:sldChg>
      <pc:sldChg chg="addSp delSp modSp new mod">
        <pc:chgData name="Yuriy Krylov" userId="c9c5516e-9c57-410b-b963-ac3bad0cf92d" providerId="ADAL" clId="{95D195F1-7A7D-4CAD-A36F-C3AAEAE4FEE8}" dt="2021-05-20T12:02:56.038" v="735" actId="1037"/>
        <pc:sldMkLst>
          <pc:docMk/>
          <pc:sldMk cId="4222897593" sldId="387"/>
        </pc:sldMkLst>
        <pc:spChg chg="mod">
          <ac:chgData name="Yuriy Krylov" userId="c9c5516e-9c57-410b-b963-ac3bad0cf92d" providerId="ADAL" clId="{95D195F1-7A7D-4CAD-A36F-C3AAEAE4FEE8}" dt="2021-05-20T11:59:39.058" v="416" actId="20577"/>
          <ac:spMkLst>
            <pc:docMk/>
            <pc:sldMk cId="4222897593" sldId="387"/>
            <ac:spMk id="2" creationId="{6A11D2C4-D609-4B89-AEBE-7FD88A8351E6}"/>
          </ac:spMkLst>
        </pc:spChg>
        <pc:spChg chg="del">
          <ac:chgData name="Yuriy Krylov" userId="c9c5516e-9c57-410b-b963-ac3bad0cf92d" providerId="ADAL" clId="{95D195F1-7A7D-4CAD-A36F-C3AAEAE4FEE8}" dt="2021-05-20T11:47:45.690" v="308" actId="478"/>
          <ac:spMkLst>
            <pc:docMk/>
            <pc:sldMk cId="4222897593" sldId="387"/>
            <ac:spMk id="3" creationId="{BC6F3E31-4735-40A2-9C03-DDE52B1FF0BD}"/>
          </ac:spMkLst>
        </pc:spChg>
        <pc:spChg chg="add mod">
          <ac:chgData name="Yuriy Krylov" userId="c9c5516e-9c57-410b-b963-ac3bad0cf92d" providerId="ADAL" clId="{95D195F1-7A7D-4CAD-A36F-C3AAEAE4FEE8}" dt="2021-05-20T12:02:37.165" v="645" actId="1035"/>
          <ac:spMkLst>
            <pc:docMk/>
            <pc:sldMk cId="4222897593" sldId="387"/>
            <ac:spMk id="5" creationId="{B1934497-FF56-4AD5-8F42-4B2B4A9D977A}"/>
          </ac:spMkLst>
        </pc:spChg>
        <pc:spChg chg="add mod">
          <ac:chgData name="Yuriy Krylov" userId="c9c5516e-9c57-410b-b963-ac3bad0cf92d" providerId="ADAL" clId="{95D195F1-7A7D-4CAD-A36F-C3AAEAE4FEE8}" dt="2021-05-20T12:02:56.038" v="735" actId="1037"/>
          <ac:spMkLst>
            <pc:docMk/>
            <pc:sldMk cId="4222897593" sldId="387"/>
            <ac:spMk id="6" creationId="{23C369B3-F1F3-4AC1-9214-BE9D12B5A29A}"/>
          </ac:spMkLst>
        </pc:spChg>
        <pc:spChg chg="add mod">
          <ac:chgData name="Yuriy Krylov" userId="c9c5516e-9c57-410b-b963-ac3bad0cf92d" providerId="ADAL" clId="{95D195F1-7A7D-4CAD-A36F-C3AAEAE4FEE8}" dt="2021-05-20T12:02:49.580" v="716" actId="1038"/>
          <ac:spMkLst>
            <pc:docMk/>
            <pc:sldMk cId="4222897593" sldId="387"/>
            <ac:spMk id="7" creationId="{7F6777F9-3359-41A6-90AA-91536AB439FC}"/>
          </ac:spMkLst>
        </pc:spChg>
        <pc:spChg chg="add mod">
          <ac:chgData name="Yuriy Krylov" userId="c9c5516e-9c57-410b-b963-ac3bad0cf92d" providerId="ADAL" clId="{95D195F1-7A7D-4CAD-A36F-C3AAEAE4FEE8}" dt="2021-05-20T12:02:44.342" v="689" actId="1038"/>
          <ac:spMkLst>
            <pc:docMk/>
            <pc:sldMk cId="4222897593" sldId="387"/>
            <ac:spMk id="8" creationId="{5F312288-A5F7-4BB6-929F-C984C60200B5}"/>
          </ac:spMkLst>
        </pc:spChg>
        <pc:picChg chg="add mod modCrop">
          <ac:chgData name="Yuriy Krylov" userId="c9c5516e-9c57-410b-b963-ac3bad0cf92d" providerId="ADAL" clId="{95D195F1-7A7D-4CAD-A36F-C3AAEAE4FEE8}" dt="2021-05-20T12:02:29.769" v="608" actId="14100"/>
          <ac:picMkLst>
            <pc:docMk/>
            <pc:sldMk cId="4222897593" sldId="387"/>
            <ac:picMk id="4" creationId="{8AB20ECA-5B39-4B40-87D4-2DCD80A3E182}"/>
          </ac:picMkLst>
        </pc:picChg>
      </pc:sldChg>
      <pc:sldChg chg="addSp delSp modSp new mod ord">
        <pc:chgData name="Yuriy Krylov" userId="c9c5516e-9c57-410b-b963-ac3bad0cf92d" providerId="ADAL" clId="{95D195F1-7A7D-4CAD-A36F-C3AAEAE4FEE8}" dt="2021-05-20T14:14:31.380" v="1026"/>
        <pc:sldMkLst>
          <pc:docMk/>
          <pc:sldMk cId="3757274143" sldId="388"/>
        </pc:sldMkLst>
        <pc:spChg chg="mod">
          <ac:chgData name="Yuriy Krylov" userId="c9c5516e-9c57-410b-b963-ac3bad0cf92d" providerId="ADAL" clId="{95D195F1-7A7D-4CAD-A36F-C3AAEAE4FEE8}" dt="2021-05-20T11:56:46.420" v="367"/>
          <ac:spMkLst>
            <pc:docMk/>
            <pc:sldMk cId="3757274143" sldId="388"/>
            <ac:spMk id="2" creationId="{880B8179-22C1-4289-B82F-54E1576D84DF}"/>
          </ac:spMkLst>
        </pc:spChg>
        <pc:spChg chg="del">
          <ac:chgData name="Yuriy Krylov" userId="c9c5516e-9c57-410b-b963-ac3bad0cf92d" providerId="ADAL" clId="{95D195F1-7A7D-4CAD-A36F-C3AAEAE4FEE8}" dt="2021-05-20T11:50:37.842" v="351" actId="478"/>
          <ac:spMkLst>
            <pc:docMk/>
            <pc:sldMk cId="3757274143" sldId="388"/>
            <ac:spMk id="3" creationId="{5E6C9C3F-D22F-4704-95E9-718AEAB3622E}"/>
          </ac:spMkLst>
        </pc:spChg>
        <pc:spChg chg="add del mod">
          <ac:chgData name="Yuriy Krylov" userId="c9c5516e-9c57-410b-b963-ac3bad0cf92d" providerId="ADAL" clId="{95D195F1-7A7D-4CAD-A36F-C3AAEAE4FEE8}" dt="2021-05-20T11:56:30.665" v="364" actId="478"/>
          <ac:spMkLst>
            <pc:docMk/>
            <pc:sldMk cId="3757274143" sldId="388"/>
            <ac:spMk id="4" creationId="{F1335236-C07A-41A4-939C-6B58A007A6B4}"/>
          </ac:spMkLst>
        </pc:spChg>
        <pc:spChg chg="add del mod">
          <ac:chgData name="Yuriy Krylov" userId="c9c5516e-9c57-410b-b963-ac3bad0cf92d" providerId="ADAL" clId="{95D195F1-7A7D-4CAD-A36F-C3AAEAE4FEE8}" dt="2021-05-20T11:56:30.665" v="364" actId="478"/>
          <ac:spMkLst>
            <pc:docMk/>
            <pc:sldMk cId="3757274143" sldId="388"/>
            <ac:spMk id="5" creationId="{DB7F4F72-395F-4EC7-8409-C727ADC4D60C}"/>
          </ac:spMkLst>
        </pc:spChg>
        <pc:spChg chg="add del mod">
          <ac:chgData name="Yuriy Krylov" userId="c9c5516e-9c57-410b-b963-ac3bad0cf92d" providerId="ADAL" clId="{95D195F1-7A7D-4CAD-A36F-C3AAEAE4FEE8}" dt="2021-05-20T11:56:30.665" v="364" actId="478"/>
          <ac:spMkLst>
            <pc:docMk/>
            <pc:sldMk cId="3757274143" sldId="388"/>
            <ac:spMk id="7" creationId="{9DE03000-6C9C-42E0-BEE0-99E97A0B311D}"/>
          </ac:spMkLst>
        </pc:spChg>
        <pc:spChg chg="add del mod">
          <ac:chgData name="Yuriy Krylov" userId="c9c5516e-9c57-410b-b963-ac3bad0cf92d" providerId="ADAL" clId="{95D195F1-7A7D-4CAD-A36F-C3AAEAE4FEE8}" dt="2021-05-20T11:56:30.665" v="364" actId="478"/>
          <ac:spMkLst>
            <pc:docMk/>
            <pc:sldMk cId="3757274143" sldId="388"/>
            <ac:spMk id="9" creationId="{288A1879-3B8A-4E68-BC9D-E60E0CFAFCCC}"/>
          </ac:spMkLst>
        </pc:spChg>
        <pc:spChg chg="add del mod">
          <ac:chgData name="Yuriy Krylov" userId="c9c5516e-9c57-410b-b963-ac3bad0cf92d" providerId="ADAL" clId="{95D195F1-7A7D-4CAD-A36F-C3AAEAE4FEE8}" dt="2021-05-20T11:56:30.665" v="364" actId="478"/>
          <ac:spMkLst>
            <pc:docMk/>
            <pc:sldMk cId="3757274143" sldId="388"/>
            <ac:spMk id="11" creationId="{043C8435-3861-4CDB-B155-D67B34880A85}"/>
          </ac:spMkLst>
        </pc:spChg>
        <pc:spChg chg="add del mod">
          <ac:chgData name="Yuriy Krylov" userId="c9c5516e-9c57-410b-b963-ac3bad0cf92d" providerId="ADAL" clId="{95D195F1-7A7D-4CAD-A36F-C3AAEAE4FEE8}" dt="2021-05-20T11:56:30.665" v="364" actId="478"/>
          <ac:spMkLst>
            <pc:docMk/>
            <pc:sldMk cId="3757274143" sldId="388"/>
            <ac:spMk id="13" creationId="{8123E317-7887-49B0-BD2F-6F387622DFC5}"/>
          </ac:spMkLst>
        </pc:spChg>
        <pc:spChg chg="add del mod">
          <ac:chgData name="Yuriy Krylov" userId="c9c5516e-9c57-410b-b963-ac3bad0cf92d" providerId="ADAL" clId="{95D195F1-7A7D-4CAD-A36F-C3AAEAE4FEE8}" dt="2021-05-20T11:56:30.665" v="364" actId="478"/>
          <ac:spMkLst>
            <pc:docMk/>
            <pc:sldMk cId="3757274143" sldId="388"/>
            <ac:spMk id="17" creationId="{3F885644-1F43-47BF-87E2-2306C027A6D7}"/>
          </ac:spMkLst>
        </pc:spChg>
        <pc:spChg chg="add del mod">
          <ac:chgData name="Yuriy Krylov" userId="c9c5516e-9c57-410b-b963-ac3bad0cf92d" providerId="ADAL" clId="{95D195F1-7A7D-4CAD-A36F-C3AAEAE4FEE8}" dt="2021-05-20T11:56:30.665" v="364" actId="478"/>
          <ac:spMkLst>
            <pc:docMk/>
            <pc:sldMk cId="3757274143" sldId="388"/>
            <ac:spMk id="18" creationId="{4F121D8B-C791-485E-A0C6-22EE4342B603}"/>
          </ac:spMkLst>
        </pc:spChg>
        <pc:spChg chg="add del mod">
          <ac:chgData name="Yuriy Krylov" userId="c9c5516e-9c57-410b-b963-ac3bad0cf92d" providerId="ADAL" clId="{95D195F1-7A7D-4CAD-A36F-C3AAEAE4FEE8}" dt="2021-05-20T11:56:30.665" v="364" actId="478"/>
          <ac:spMkLst>
            <pc:docMk/>
            <pc:sldMk cId="3757274143" sldId="388"/>
            <ac:spMk id="19" creationId="{A7F3EFE2-D3D9-4045-AB83-0DE2FE54593F}"/>
          </ac:spMkLst>
        </pc:spChg>
        <pc:spChg chg="add del mod">
          <ac:chgData name="Yuriy Krylov" userId="c9c5516e-9c57-410b-b963-ac3bad0cf92d" providerId="ADAL" clId="{95D195F1-7A7D-4CAD-A36F-C3AAEAE4FEE8}" dt="2021-05-20T11:56:30.665" v="364" actId="478"/>
          <ac:spMkLst>
            <pc:docMk/>
            <pc:sldMk cId="3757274143" sldId="388"/>
            <ac:spMk id="21" creationId="{AC15AF4E-EBE0-45BE-8A7E-5706B3C4C83B}"/>
          </ac:spMkLst>
        </pc:spChg>
        <pc:spChg chg="add del mod">
          <ac:chgData name="Yuriy Krylov" userId="c9c5516e-9c57-410b-b963-ac3bad0cf92d" providerId="ADAL" clId="{95D195F1-7A7D-4CAD-A36F-C3AAEAE4FEE8}" dt="2021-05-20T11:56:30.665" v="364" actId="478"/>
          <ac:spMkLst>
            <pc:docMk/>
            <pc:sldMk cId="3757274143" sldId="388"/>
            <ac:spMk id="24" creationId="{E8BB8717-8A0E-436C-A46D-16902C499099}"/>
          </ac:spMkLst>
        </pc:spChg>
        <pc:spChg chg="add del mod">
          <ac:chgData name="Yuriy Krylov" userId="c9c5516e-9c57-410b-b963-ac3bad0cf92d" providerId="ADAL" clId="{95D195F1-7A7D-4CAD-A36F-C3AAEAE4FEE8}" dt="2021-05-20T11:56:30.665" v="364" actId="478"/>
          <ac:spMkLst>
            <pc:docMk/>
            <pc:sldMk cId="3757274143" sldId="388"/>
            <ac:spMk id="26" creationId="{B8C35CFA-A606-4D0F-B4D9-BD6B12B2F7DC}"/>
          </ac:spMkLst>
        </pc:spChg>
        <pc:spChg chg="add del mod">
          <ac:chgData name="Yuriy Krylov" userId="c9c5516e-9c57-410b-b963-ac3bad0cf92d" providerId="ADAL" clId="{95D195F1-7A7D-4CAD-A36F-C3AAEAE4FEE8}" dt="2021-05-20T11:56:30.665" v="364" actId="478"/>
          <ac:spMkLst>
            <pc:docMk/>
            <pc:sldMk cId="3757274143" sldId="388"/>
            <ac:spMk id="27" creationId="{3FB5D14C-C514-4C4A-9B87-4447B31DB0C1}"/>
          </ac:spMkLst>
        </pc:spChg>
        <pc:spChg chg="add mod">
          <ac:chgData name="Yuriy Krylov" userId="c9c5516e-9c57-410b-b963-ac3bad0cf92d" providerId="ADAL" clId="{95D195F1-7A7D-4CAD-A36F-C3AAEAE4FEE8}" dt="2021-05-20T11:56:38.833" v="366" actId="1076"/>
          <ac:spMkLst>
            <pc:docMk/>
            <pc:sldMk cId="3757274143" sldId="388"/>
            <ac:spMk id="29" creationId="{CD83DC23-6706-4346-AD76-9A88CD48447A}"/>
          </ac:spMkLst>
        </pc:spChg>
        <pc:spChg chg="add mod">
          <ac:chgData name="Yuriy Krylov" userId="c9c5516e-9c57-410b-b963-ac3bad0cf92d" providerId="ADAL" clId="{95D195F1-7A7D-4CAD-A36F-C3AAEAE4FEE8}" dt="2021-05-20T11:56:38.833" v="366" actId="1076"/>
          <ac:spMkLst>
            <pc:docMk/>
            <pc:sldMk cId="3757274143" sldId="388"/>
            <ac:spMk id="30" creationId="{2EF9C780-AD93-4A8A-B580-65D5F4D7A830}"/>
          </ac:spMkLst>
        </pc:spChg>
        <pc:spChg chg="add mod">
          <ac:chgData name="Yuriy Krylov" userId="c9c5516e-9c57-410b-b963-ac3bad0cf92d" providerId="ADAL" clId="{95D195F1-7A7D-4CAD-A36F-C3AAEAE4FEE8}" dt="2021-05-20T11:56:38.833" v="366" actId="1076"/>
          <ac:spMkLst>
            <pc:docMk/>
            <pc:sldMk cId="3757274143" sldId="388"/>
            <ac:spMk id="32" creationId="{2A97BB18-C2A4-4DCA-BE65-F6835F232359}"/>
          </ac:spMkLst>
        </pc:spChg>
        <pc:spChg chg="add mod">
          <ac:chgData name="Yuriy Krylov" userId="c9c5516e-9c57-410b-b963-ac3bad0cf92d" providerId="ADAL" clId="{95D195F1-7A7D-4CAD-A36F-C3AAEAE4FEE8}" dt="2021-05-20T11:56:38.833" v="366" actId="1076"/>
          <ac:spMkLst>
            <pc:docMk/>
            <pc:sldMk cId="3757274143" sldId="388"/>
            <ac:spMk id="34" creationId="{6389BBA7-A422-487B-9C1B-3868D729A0CC}"/>
          </ac:spMkLst>
        </pc:spChg>
        <pc:spChg chg="add mod">
          <ac:chgData name="Yuriy Krylov" userId="c9c5516e-9c57-410b-b963-ac3bad0cf92d" providerId="ADAL" clId="{95D195F1-7A7D-4CAD-A36F-C3AAEAE4FEE8}" dt="2021-05-20T11:56:38.833" v="366" actId="1076"/>
          <ac:spMkLst>
            <pc:docMk/>
            <pc:sldMk cId="3757274143" sldId="388"/>
            <ac:spMk id="36" creationId="{8866DFE2-1BFF-4B14-BFE3-10C25C8D9D00}"/>
          </ac:spMkLst>
        </pc:spChg>
        <pc:spChg chg="add mod">
          <ac:chgData name="Yuriy Krylov" userId="c9c5516e-9c57-410b-b963-ac3bad0cf92d" providerId="ADAL" clId="{95D195F1-7A7D-4CAD-A36F-C3AAEAE4FEE8}" dt="2021-05-20T11:56:38.833" v="366" actId="1076"/>
          <ac:spMkLst>
            <pc:docMk/>
            <pc:sldMk cId="3757274143" sldId="388"/>
            <ac:spMk id="38" creationId="{79A161A7-163B-4169-8D06-3DD46B0EC927}"/>
          </ac:spMkLst>
        </pc:spChg>
        <pc:spChg chg="add mod">
          <ac:chgData name="Yuriy Krylov" userId="c9c5516e-9c57-410b-b963-ac3bad0cf92d" providerId="ADAL" clId="{95D195F1-7A7D-4CAD-A36F-C3AAEAE4FEE8}" dt="2021-05-20T11:56:38.833" v="366" actId="1076"/>
          <ac:spMkLst>
            <pc:docMk/>
            <pc:sldMk cId="3757274143" sldId="388"/>
            <ac:spMk id="42" creationId="{469C9AAB-4C6E-45F0-88C7-3F4B77CC6F4B}"/>
          </ac:spMkLst>
        </pc:spChg>
        <pc:spChg chg="add mod">
          <ac:chgData name="Yuriy Krylov" userId="c9c5516e-9c57-410b-b963-ac3bad0cf92d" providerId="ADAL" clId="{95D195F1-7A7D-4CAD-A36F-C3AAEAE4FEE8}" dt="2021-05-20T11:56:38.833" v="366" actId="1076"/>
          <ac:spMkLst>
            <pc:docMk/>
            <pc:sldMk cId="3757274143" sldId="388"/>
            <ac:spMk id="43" creationId="{990B07A3-5865-49FE-9A80-7CF14BF74EDB}"/>
          </ac:spMkLst>
        </pc:spChg>
        <pc:spChg chg="add mod">
          <ac:chgData name="Yuriy Krylov" userId="c9c5516e-9c57-410b-b963-ac3bad0cf92d" providerId="ADAL" clId="{95D195F1-7A7D-4CAD-A36F-C3AAEAE4FEE8}" dt="2021-05-20T11:56:38.833" v="366" actId="1076"/>
          <ac:spMkLst>
            <pc:docMk/>
            <pc:sldMk cId="3757274143" sldId="388"/>
            <ac:spMk id="44" creationId="{15220B22-8A2B-462D-BF35-B9E42A6E851A}"/>
          </ac:spMkLst>
        </pc:spChg>
        <pc:spChg chg="add mod">
          <ac:chgData name="Yuriy Krylov" userId="c9c5516e-9c57-410b-b963-ac3bad0cf92d" providerId="ADAL" clId="{95D195F1-7A7D-4CAD-A36F-C3AAEAE4FEE8}" dt="2021-05-20T11:56:38.833" v="366" actId="1076"/>
          <ac:spMkLst>
            <pc:docMk/>
            <pc:sldMk cId="3757274143" sldId="388"/>
            <ac:spMk id="46" creationId="{76EB36B8-FA62-43EB-A0C3-6B411D6584D8}"/>
          </ac:spMkLst>
        </pc:spChg>
        <pc:spChg chg="add mod">
          <ac:chgData name="Yuriy Krylov" userId="c9c5516e-9c57-410b-b963-ac3bad0cf92d" providerId="ADAL" clId="{95D195F1-7A7D-4CAD-A36F-C3AAEAE4FEE8}" dt="2021-05-20T11:56:38.833" v="366" actId="1076"/>
          <ac:spMkLst>
            <pc:docMk/>
            <pc:sldMk cId="3757274143" sldId="388"/>
            <ac:spMk id="49" creationId="{962A1299-1E7A-418A-9811-1D7738C84FA2}"/>
          </ac:spMkLst>
        </pc:spChg>
        <pc:spChg chg="add mod">
          <ac:chgData name="Yuriy Krylov" userId="c9c5516e-9c57-410b-b963-ac3bad0cf92d" providerId="ADAL" clId="{95D195F1-7A7D-4CAD-A36F-C3AAEAE4FEE8}" dt="2021-05-20T11:57:17.789" v="375" actId="692"/>
          <ac:spMkLst>
            <pc:docMk/>
            <pc:sldMk cId="3757274143" sldId="388"/>
            <ac:spMk id="51" creationId="{64781020-B9EB-43AD-A88E-012FD462560B}"/>
          </ac:spMkLst>
        </pc:spChg>
        <pc:spChg chg="add mod">
          <ac:chgData name="Yuriy Krylov" userId="c9c5516e-9c57-410b-b963-ac3bad0cf92d" providerId="ADAL" clId="{95D195F1-7A7D-4CAD-A36F-C3AAEAE4FEE8}" dt="2021-05-20T11:56:38.833" v="366" actId="1076"/>
          <ac:spMkLst>
            <pc:docMk/>
            <pc:sldMk cId="3757274143" sldId="388"/>
            <ac:spMk id="52" creationId="{CBC95CCB-DD52-49E6-A91E-70D328501D80}"/>
          </ac:spMkLst>
        </pc:spChg>
        <pc:spChg chg="add mod">
          <ac:chgData name="Yuriy Krylov" userId="c9c5516e-9c57-410b-b963-ac3bad0cf92d" providerId="ADAL" clId="{95D195F1-7A7D-4CAD-A36F-C3AAEAE4FEE8}" dt="2021-05-20T11:57:46.326" v="377" actId="1076"/>
          <ac:spMkLst>
            <pc:docMk/>
            <pc:sldMk cId="3757274143" sldId="388"/>
            <ac:spMk id="54" creationId="{17B718CB-9F18-421B-9ECB-F69D774C0E66}"/>
          </ac:spMkLst>
        </pc:spChg>
        <pc:cxnChg chg="add del mod">
          <ac:chgData name="Yuriy Krylov" userId="c9c5516e-9c57-410b-b963-ac3bad0cf92d" providerId="ADAL" clId="{95D195F1-7A7D-4CAD-A36F-C3AAEAE4FEE8}" dt="2021-05-20T11:56:30.665" v="364" actId="478"/>
          <ac:cxnSpMkLst>
            <pc:docMk/>
            <pc:sldMk cId="3757274143" sldId="388"/>
            <ac:cxnSpMk id="6" creationId="{27E0C3D4-E229-4DB9-93C2-7D0CA2CE91A9}"/>
          </ac:cxnSpMkLst>
        </pc:cxnChg>
        <pc:cxnChg chg="add del mod">
          <ac:chgData name="Yuriy Krylov" userId="c9c5516e-9c57-410b-b963-ac3bad0cf92d" providerId="ADAL" clId="{95D195F1-7A7D-4CAD-A36F-C3AAEAE4FEE8}" dt="2021-05-20T11:56:30.665" v="364" actId="478"/>
          <ac:cxnSpMkLst>
            <pc:docMk/>
            <pc:sldMk cId="3757274143" sldId="388"/>
            <ac:cxnSpMk id="8" creationId="{AC640657-2F8F-4D61-A90D-D277C9498B0D}"/>
          </ac:cxnSpMkLst>
        </pc:cxnChg>
        <pc:cxnChg chg="add del mod">
          <ac:chgData name="Yuriy Krylov" userId="c9c5516e-9c57-410b-b963-ac3bad0cf92d" providerId="ADAL" clId="{95D195F1-7A7D-4CAD-A36F-C3AAEAE4FEE8}" dt="2021-05-20T11:56:30.665" v="364" actId="478"/>
          <ac:cxnSpMkLst>
            <pc:docMk/>
            <pc:sldMk cId="3757274143" sldId="388"/>
            <ac:cxnSpMk id="10" creationId="{97D60FFB-1DEB-43F5-BDE1-41077EF4702D}"/>
          </ac:cxnSpMkLst>
        </pc:cxnChg>
        <pc:cxnChg chg="add del mod">
          <ac:chgData name="Yuriy Krylov" userId="c9c5516e-9c57-410b-b963-ac3bad0cf92d" providerId="ADAL" clId="{95D195F1-7A7D-4CAD-A36F-C3AAEAE4FEE8}" dt="2021-05-20T11:56:30.665" v="364" actId="478"/>
          <ac:cxnSpMkLst>
            <pc:docMk/>
            <pc:sldMk cId="3757274143" sldId="388"/>
            <ac:cxnSpMk id="12" creationId="{600A401A-2442-4179-B0D0-830B11CBA057}"/>
          </ac:cxnSpMkLst>
        </pc:cxnChg>
        <pc:cxnChg chg="add del mod">
          <ac:chgData name="Yuriy Krylov" userId="c9c5516e-9c57-410b-b963-ac3bad0cf92d" providerId="ADAL" clId="{95D195F1-7A7D-4CAD-A36F-C3AAEAE4FEE8}" dt="2021-05-20T11:56:30.665" v="364" actId="478"/>
          <ac:cxnSpMkLst>
            <pc:docMk/>
            <pc:sldMk cId="3757274143" sldId="388"/>
            <ac:cxnSpMk id="14" creationId="{A3DC1B57-91FD-4BDD-A54F-89EA2A95B8D0}"/>
          </ac:cxnSpMkLst>
        </pc:cxnChg>
        <pc:cxnChg chg="add del mod">
          <ac:chgData name="Yuriy Krylov" userId="c9c5516e-9c57-410b-b963-ac3bad0cf92d" providerId="ADAL" clId="{95D195F1-7A7D-4CAD-A36F-C3AAEAE4FEE8}" dt="2021-05-20T11:56:30.665" v="364" actId="478"/>
          <ac:cxnSpMkLst>
            <pc:docMk/>
            <pc:sldMk cId="3757274143" sldId="388"/>
            <ac:cxnSpMk id="15" creationId="{1DA16E48-55DA-42C5-835A-F3682B3241C6}"/>
          </ac:cxnSpMkLst>
        </pc:cxnChg>
        <pc:cxnChg chg="add del mod">
          <ac:chgData name="Yuriy Krylov" userId="c9c5516e-9c57-410b-b963-ac3bad0cf92d" providerId="ADAL" clId="{95D195F1-7A7D-4CAD-A36F-C3AAEAE4FEE8}" dt="2021-05-20T11:56:30.665" v="364" actId="478"/>
          <ac:cxnSpMkLst>
            <pc:docMk/>
            <pc:sldMk cId="3757274143" sldId="388"/>
            <ac:cxnSpMk id="16" creationId="{5493150F-83C0-4FD0-AED3-FF05DCF739EF}"/>
          </ac:cxnSpMkLst>
        </pc:cxnChg>
        <pc:cxnChg chg="add del mod">
          <ac:chgData name="Yuriy Krylov" userId="c9c5516e-9c57-410b-b963-ac3bad0cf92d" providerId="ADAL" clId="{95D195F1-7A7D-4CAD-A36F-C3AAEAE4FEE8}" dt="2021-05-20T11:56:30.665" v="364" actId="478"/>
          <ac:cxnSpMkLst>
            <pc:docMk/>
            <pc:sldMk cId="3757274143" sldId="388"/>
            <ac:cxnSpMk id="20" creationId="{BCEC6399-76EF-4B10-A914-74CD9867CB6E}"/>
          </ac:cxnSpMkLst>
        </pc:cxnChg>
        <pc:cxnChg chg="add del mod">
          <ac:chgData name="Yuriy Krylov" userId="c9c5516e-9c57-410b-b963-ac3bad0cf92d" providerId="ADAL" clId="{95D195F1-7A7D-4CAD-A36F-C3AAEAE4FEE8}" dt="2021-05-20T11:56:30.665" v="364" actId="478"/>
          <ac:cxnSpMkLst>
            <pc:docMk/>
            <pc:sldMk cId="3757274143" sldId="388"/>
            <ac:cxnSpMk id="22" creationId="{3DB912E0-7DB6-403D-935F-1697E6843508}"/>
          </ac:cxnSpMkLst>
        </pc:cxnChg>
        <pc:cxnChg chg="add del mod">
          <ac:chgData name="Yuriy Krylov" userId="c9c5516e-9c57-410b-b963-ac3bad0cf92d" providerId="ADAL" clId="{95D195F1-7A7D-4CAD-A36F-C3AAEAE4FEE8}" dt="2021-05-20T11:56:30.665" v="364" actId="478"/>
          <ac:cxnSpMkLst>
            <pc:docMk/>
            <pc:sldMk cId="3757274143" sldId="388"/>
            <ac:cxnSpMk id="23" creationId="{AAE22E2A-AD4A-4859-ABA4-43AA75086D38}"/>
          </ac:cxnSpMkLst>
        </pc:cxnChg>
        <pc:cxnChg chg="add del mod">
          <ac:chgData name="Yuriy Krylov" userId="c9c5516e-9c57-410b-b963-ac3bad0cf92d" providerId="ADAL" clId="{95D195F1-7A7D-4CAD-A36F-C3AAEAE4FEE8}" dt="2021-05-20T11:56:30.665" v="364" actId="478"/>
          <ac:cxnSpMkLst>
            <pc:docMk/>
            <pc:sldMk cId="3757274143" sldId="388"/>
            <ac:cxnSpMk id="25" creationId="{589C34CA-8988-4DBE-A3AC-B14B22D2EB1D}"/>
          </ac:cxnSpMkLst>
        </pc:cxnChg>
        <pc:cxnChg chg="add del mod">
          <ac:chgData name="Yuriy Krylov" userId="c9c5516e-9c57-410b-b963-ac3bad0cf92d" providerId="ADAL" clId="{95D195F1-7A7D-4CAD-A36F-C3AAEAE4FEE8}" dt="2021-05-20T11:56:30.665" v="364" actId="478"/>
          <ac:cxnSpMkLst>
            <pc:docMk/>
            <pc:sldMk cId="3757274143" sldId="388"/>
            <ac:cxnSpMk id="28" creationId="{4A51B378-4755-474C-A325-4DE9A0C726A8}"/>
          </ac:cxnSpMkLst>
        </pc:cxnChg>
        <pc:cxnChg chg="add mod">
          <ac:chgData name="Yuriy Krylov" userId="c9c5516e-9c57-410b-b963-ac3bad0cf92d" providerId="ADAL" clId="{95D195F1-7A7D-4CAD-A36F-C3AAEAE4FEE8}" dt="2021-05-20T11:56:38.833" v="366" actId="1076"/>
          <ac:cxnSpMkLst>
            <pc:docMk/>
            <pc:sldMk cId="3757274143" sldId="388"/>
            <ac:cxnSpMk id="31" creationId="{844D84F6-D9F9-483D-85AC-EA7D26A742CB}"/>
          </ac:cxnSpMkLst>
        </pc:cxnChg>
        <pc:cxnChg chg="add mod">
          <ac:chgData name="Yuriy Krylov" userId="c9c5516e-9c57-410b-b963-ac3bad0cf92d" providerId="ADAL" clId="{95D195F1-7A7D-4CAD-A36F-C3AAEAE4FEE8}" dt="2021-05-20T11:56:38.833" v="366" actId="1076"/>
          <ac:cxnSpMkLst>
            <pc:docMk/>
            <pc:sldMk cId="3757274143" sldId="388"/>
            <ac:cxnSpMk id="33" creationId="{6219123E-F662-4036-BD84-E5FDF76284A5}"/>
          </ac:cxnSpMkLst>
        </pc:cxnChg>
        <pc:cxnChg chg="add mod">
          <ac:chgData name="Yuriy Krylov" userId="c9c5516e-9c57-410b-b963-ac3bad0cf92d" providerId="ADAL" clId="{95D195F1-7A7D-4CAD-A36F-C3AAEAE4FEE8}" dt="2021-05-20T11:56:38.833" v="366" actId="1076"/>
          <ac:cxnSpMkLst>
            <pc:docMk/>
            <pc:sldMk cId="3757274143" sldId="388"/>
            <ac:cxnSpMk id="35" creationId="{3DE0C29B-708E-47C8-99CF-D20C0ACAF2FA}"/>
          </ac:cxnSpMkLst>
        </pc:cxnChg>
        <pc:cxnChg chg="add mod">
          <ac:chgData name="Yuriy Krylov" userId="c9c5516e-9c57-410b-b963-ac3bad0cf92d" providerId="ADAL" clId="{95D195F1-7A7D-4CAD-A36F-C3AAEAE4FEE8}" dt="2021-05-20T11:56:38.833" v="366" actId="1076"/>
          <ac:cxnSpMkLst>
            <pc:docMk/>
            <pc:sldMk cId="3757274143" sldId="388"/>
            <ac:cxnSpMk id="37" creationId="{1ABB74C3-6F81-4607-AD24-32B7BE32B4FF}"/>
          </ac:cxnSpMkLst>
        </pc:cxnChg>
        <pc:cxnChg chg="add mod">
          <ac:chgData name="Yuriy Krylov" userId="c9c5516e-9c57-410b-b963-ac3bad0cf92d" providerId="ADAL" clId="{95D195F1-7A7D-4CAD-A36F-C3AAEAE4FEE8}" dt="2021-05-20T11:56:38.833" v="366" actId="1076"/>
          <ac:cxnSpMkLst>
            <pc:docMk/>
            <pc:sldMk cId="3757274143" sldId="388"/>
            <ac:cxnSpMk id="39" creationId="{4B8EFD07-411C-4FAB-94C2-75501A1503FA}"/>
          </ac:cxnSpMkLst>
        </pc:cxnChg>
        <pc:cxnChg chg="add mod">
          <ac:chgData name="Yuriy Krylov" userId="c9c5516e-9c57-410b-b963-ac3bad0cf92d" providerId="ADAL" clId="{95D195F1-7A7D-4CAD-A36F-C3AAEAE4FEE8}" dt="2021-05-20T11:56:38.833" v="366" actId="1076"/>
          <ac:cxnSpMkLst>
            <pc:docMk/>
            <pc:sldMk cId="3757274143" sldId="388"/>
            <ac:cxnSpMk id="40" creationId="{3D3D05FF-6773-4E18-A926-0320E07C297A}"/>
          </ac:cxnSpMkLst>
        </pc:cxnChg>
        <pc:cxnChg chg="add mod">
          <ac:chgData name="Yuriy Krylov" userId="c9c5516e-9c57-410b-b963-ac3bad0cf92d" providerId="ADAL" clId="{95D195F1-7A7D-4CAD-A36F-C3AAEAE4FEE8}" dt="2021-05-20T11:56:38.833" v="366" actId="1076"/>
          <ac:cxnSpMkLst>
            <pc:docMk/>
            <pc:sldMk cId="3757274143" sldId="388"/>
            <ac:cxnSpMk id="41" creationId="{8B8A24B7-FF85-4502-93E8-0250F0502DFE}"/>
          </ac:cxnSpMkLst>
        </pc:cxnChg>
        <pc:cxnChg chg="add mod">
          <ac:chgData name="Yuriy Krylov" userId="c9c5516e-9c57-410b-b963-ac3bad0cf92d" providerId="ADAL" clId="{95D195F1-7A7D-4CAD-A36F-C3AAEAE4FEE8}" dt="2021-05-20T11:56:38.833" v="366" actId="1076"/>
          <ac:cxnSpMkLst>
            <pc:docMk/>
            <pc:sldMk cId="3757274143" sldId="388"/>
            <ac:cxnSpMk id="45" creationId="{F00FC894-0B2F-4FAA-8DF8-8A70972AB5ED}"/>
          </ac:cxnSpMkLst>
        </pc:cxnChg>
        <pc:cxnChg chg="add mod">
          <ac:chgData name="Yuriy Krylov" userId="c9c5516e-9c57-410b-b963-ac3bad0cf92d" providerId="ADAL" clId="{95D195F1-7A7D-4CAD-A36F-C3AAEAE4FEE8}" dt="2021-05-20T11:56:38.833" v="366" actId="1076"/>
          <ac:cxnSpMkLst>
            <pc:docMk/>
            <pc:sldMk cId="3757274143" sldId="388"/>
            <ac:cxnSpMk id="47" creationId="{3098035E-3C0C-4B9D-A6FE-BAB33259A7BE}"/>
          </ac:cxnSpMkLst>
        </pc:cxnChg>
        <pc:cxnChg chg="add mod">
          <ac:chgData name="Yuriy Krylov" userId="c9c5516e-9c57-410b-b963-ac3bad0cf92d" providerId="ADAL" clId="{95D195F1-7A7D-4CAD-A36F-C3AAEAE4FEE8}" dt="2021-05-20T11:56:38.833" v="366" actId="1076"/>
          <ac:cxnSpMkLst>
            <pc:docMk/>
            <pc:sldMk cId="3757274143" sldId="388"/>
            <ac:cxnSpMk id="48" creationId="{2CA132D0-5A42-4AB0-96F6-117225D2663F}"/>
          </ac:cxnSpMkLst>
        </pc:cxnChg>
        <pc:cxnChg chg="add mod">
          <ac:chgData name="Yuriy Krylov" userId="c9c5516e-9c57-410b-b963-ac3bad0cf92d" providerId="ADAL" clId="{95D195F1-7A7D-4CAD-A36F-C3AAEAE4FEE8}" dt="2021-05-20T11:56:38.833" v="366" actId="1076"/>
          <ac:cxnSpMkLst>
            <pc:docMk/>
            <pc:sldMk cId="3757274143" sldId="388"/>
            <ac:cxnSpMk id="50" creationId="{3D9FCE11-4057-4369-8BC8-B14CCD0C95D3}"/>
          </ac:cxnSpMkLst>
        </pc:cxnChg>
        <pc:cxnChg chg="add mod">
          <ac:chgData name="Yuriy Krylov" userId="c9c5516e-9c57-410b-b963-ac3bad0cf92d" providerId="ADAL" clId="{95D195F1-7A7D-4CAD-A36F-C3AAEAE4FEE8}" dt="2021-05-20T11:56:38.833" v="366" actId="1076"/>
          <ac:cxnSpMkLst>
            <pc:docMk/>
            <pc:sldMk cId="3757274143" sldId="388"/>
            <ac:cxnSpMk id="53" creationId="{7B045EBE-A03D-4DA5-BC99-AD605BA00491}"/>
          </ac:cxnSpMkLst>
        </pc:cxnChg>
        <pc:cxnChg chg="add mod">
          <ac:chgData name="Yuriy Krylov" userId="c9c5516e-9c57-410b-b963-ac3bad0cf92d" providerId="ADAL" clId="{95D195F1-7A7D-4CAD-A36F-C3AAEAE4FEE8}" dt="2021-05-20T12:07:10.457" v="771" actId="1076"/>
          <ac:cxnSpMkLst>
            <pc:docMk/>
            <pc:sldMk cId="3757274143" sldId="388"/>
            <ac:cxnSpMk id="55" creationId="{0F2CD2E8-735D-4CDD-AD99-F135494D69D9}"/>
          </ac:cxnSpMkLst>
        </pc:cxnChg>
        <pc:cxnChg chg="add mod">
          <ac:chgData name="Yuriy Krylov" userId="c9c5516e-9c57-410b-b963-ac3bad0cf92d" providerId="ADAL" clId="{95D195F1-7A7D-4CAD-A36F-C3AAEAE4FEE8}" dt="2021-05-20T12:07:10.457" v="771" actId="1076"/>
          <ac:cxnSpMkLst>
            <pc:docMk/>
            <pc:sldMk cId="3757274143" sldId="388"/>
            <ac:cxnSpMk id="56" creationId="{3933E2D8-CEC9-4D6B-A18B-A310D1B9CD83}"/>
          </ac:cxnSpMkLst>
        </pc:cxnChg>
      </pc:sldChg>
      <pc:sldChg chg="addSp delSp modSp new mod">
        <pc:chgData name="Yuriy Krylov" userId="c9c5516e-9c57-410b-b963-ac3bad0cf92d" providerId="ADAL" clId="{95D195F1-7A7D-4CAD-A36F-C3AAEAE4FEE8}" dt="2021-05-20T12:03:56.895" v="768" actId="1076"/>
        <pc:sldMkLst>
          <pc:docMk/>
          <pc:sldMk cId="3812814407" sldId="389"/>
        </pc:sldMkLst>
        <pc:spChg chg="mod">
          <ac:chgData name="Yuriy Krylov" userId="c9c5516e-9c57-410b-b963-ac3bad0cf92d" providerId="ADAL" clId="{95D195F1-7A7D-4CAD-A36F-C3AAEAE4FEE8}" dt="2021-05-20T12:03:27.288" v="760" actId="20577"/>
          <ac:spMkLst>
            <pc:docMk/>
            <pc:sldMk cId="3812814407" sldId="389"/>
            <ac:spMk id="2" creationId="{5B621768-F286-4881-9F8C-0A6A88E4D735}"/>
          </ac:spMkLst>
        </pc:spChg>
        <pc:spChg chg="del">
          <ac:chgData name="Yuriy Krylov" userId="c9c5516e-9c57-410b-b963-ac3bad0cf92d" providerId="ADAL" clId="{95D195F1-7A7D-4CAD-A36F-C3AAEAE4FEE8}" dt="2021-05-20T12:03:19.969" v="737" actId="478"/>
          <ac:spMkLst>
            <pc:docMk/>
            <pc:sldMk cId="3812814407" sldId="389"/>
            <ac:spMk id="3" creationId="{544CF007-F4BA-4A33-A41F-CF6A59DB8758}"/>
          </ac:spMkLst>
        </pc:spChg>
        <pc:picChg chg="add mod">
          <ac:chgData name="Yuriy Krylov" userId="c9c5516e-9c57-410b-b963-ac3bad0cf92d" providerId="ADAL" clId="{95D195F1-7A7D-4CAD-A36F-C3AAEAE4FEE8}" dt="2021-05-20T12:03:56.895" v="768" actId="1076"/>
          <ac:picMkLst>
            <pc:docMk/>
            <pc:sldMk cId="3812814407" sldId="389"/>
            <ac:picMk id="4" creationId="{FE6498C7-FE10-40C2-B95F-BC72656DA401}"/>
          </ac:picMkLst>
        </pc:picChg>
      </pc:sldChg>
      <pc:sldChg chg="addSp modSp add mod">
        <pc:chgData name="Yuriy Krylov" userId="c9c5516e-9c57-410b-b963-ac3bad0cf92d" providerId="ADAL" clId="{95D195F1-7A7D-4CAD-A36F-C3AAEAE4FEE8}" dt="2021-05-20T12:54:55.380" v="1024" actId="20577"/>
        <pc:sldMkLst>
          <pc:docMk/>
          <pc:sldMk cId="3672512575" sldId="390"/>
        </pc:sldMkLst>
        <pc:spChg chg="mod">
          <ac:chgData name="Yuriy Krylov" userId="c9c5516e-9c57-410b-b963-ac3bad0cf92d" providerId="ADAL" clId="{95D195F1-7A7D-4CAD-A36F-C3AAEAE4FEE8}" dt="2021-05-20T12:54:55.380" v="1024" actId="20577"/>
          <ac:spMkLst>
            <pc:docMk/>
            <pc:sldMk cId="3672512575" sldId="390"/>
            <ac:spMk id="2" creationId="{004607BC-FC54-4795-8999-034D5C348D89}"/>
          </ac:spMkLst>
        </pc:spChg>
        <pc:spChg chg="add mod">
          <ac:chgData name="Yuriy Krylov" userId="c9c5516e-9c57-410b-b963-ac3bad0cf92d" providerId="ADAL" clId="{95D195F1-7A7D-4CAD-A36F-C3AAEAE4FEE8}" dt="2021-05-20T12:37:11.830" v="881" actId="1038"/>
          <ac:spMkLst>
            <pc:docMk/>
            <pc:sldMk cId="3672512575" sldId="390"/>
            <ac:spMk id="3" creationId="{C72E6CC2-9FC6-4998-9D7A-3EFD29E883C2}"/>
          </ac:spMkLst>
        </pc:spChg>
        <pc:spChg chg="add mod">
          <ac:chgData name="Yuriy Krylov" userId="c9c5516e-9c57-410b-b963-ac3bad0cf92d" providerId="ADAL" clId="{95D195F1-7A7D-4CAD-A36F-C3AAEAE4FEE8}" dt="2021-05-20T12:43:13.043" v="996" actId="1076"/>
          <ac:spMkLst>
            <pc:docMk/>
            <pc:sldMk cId="3672512575" sldId="390"/>
            <ac:spMk id="17" creationId="{9DF90B53-C42D-4929-BC99-E5DEA1D17ED3}"/>
          </ac:spMkLst>
        </pc:spChg>
        <pc:spChg chg="add mod">
          <ac:chgData name="Yuriy Krylov" userId="c9c5516e-9c57-410b-b963-ac3bad0cf92d" providerId="ADAL" clId="{95D195F1-7A7D-4CAD-A36F-C3AAEAE4FEE8}" dt="2021-05-20T12:43:29.850" v="1006" actId="1038"/>
          <ac:spMkLst>
            <pc:docMk/>
            <pc:sldMk cId="3672512575" sldId="390"/>
            <ac:spMk id="18" creationId="{D84DC560-A3AE-4E47-9F52-4C21C148A6A0}"/>
          </ac:spMkLst>
        </pc:spChg>
        <pc:cxnChg chg="add mod">
          <ac:chgData name="Yuriy Krylov" userId="c9c5516e-9c57-410b-b963-ac3bad0cf92d" providerId="ADAL" clId="{95D195F1-7A7D-4CAD-A36F-C3AAEAE4FEE8}" dt="2021-05-20T12:44:33.560" v="1012" actId="14100"/>
          <ac:cxnSpMkLst>
            <pc:docMk/>
            <pc:sldMk cId="3672512575" sldId="390"/>
            <ac:cxnSpMk id="6" creationId="{D07FB320-3520-4232-B991-C5C4B74F7C2E}"/>
          </ac:cxnSpMkLst>
        </pc:cxnChg>
        <pc:cxnChg chg="add mod">
          <ac:chgData name="Yuriy Krylov" userId="c9c5516e-9c57-410b-b963-ac3bad0cf92d" providerId="ADAL" clId="{95D195F1-7A7D-4CAD-A36F-C3AAEAE4FEE8}" dt="2021-05-20T12:44:40.780" v="1013" actId="14100"/>
          <ac:cxnSpMkLst>
            <pc:docMk/>
            <pc:sldMk cId="3672512575" sldId="390"/>
            <ac:cxnSpMk id="8" creationId="{653D33A6-0DEA-44C5-AD39-FAB0537738B0}"/>
          </ac:cxnSpMkLst>
        </pc:cxnChg>
        <pc:cxnChg chg="add mod">
          <ac:chgData name="Yuriy Krylov" userId="c9c5516e-9c57-410b-b963-ac3bad0cf92d" providerId="ADAL" clId="{95D195F1-7A7D-4CAD-A36F-C3AAEAE4FEE8}" dt="2021-05-20T12:44:11.709" v="1008" actId="692"/>
          <ac:cxnSpMkLst>
            <pc:docMk/>
            <pc:sldMk cId="3672512575" sldId="390"/>
            <ac:cxnSpMk id="10" creationId="{D7B21953-113D-4B8C-94A6-7A85754E00DB}"/>
          </ac:cxnSpMkLst>
        </pc:cxnChg>
      </pc:sldChg>
      <pc:sldChg chg="addSp delSp modSp new mod">
        <pc:chgData name="Yuriy Krylov" userId="c9c5516e-9c57-410b-b963-ac3bad0cf92d" providerId="ADAL" clId="{95D195F1-7A7D-4CAD-A36F-C3AAEAE4FEE8}" dt="2021-05-20T14:25:36.748" v="1049" actId="20577"/>
        <pc:sldMkLst>
          <pc:docMk/>
          <pc:sldMk cId="3422629595" sldId="391"/>
        </pc:sldMkLst>
        <pc:spChg chg="mod">
          <ac:chgData name="Yuriy Krylov" userId="c9c5516e-9c57-410b-b963-ac3bad0cf92d" providerId="ADAL" clId="{95D195F1-7A7D-4CAD-A36F-C3AAEAE4FEE8}" dt="2021-05-20T14:25:36.748" v="1049" actId="20577"/>
          <ac:spMkLst>
            <pc:docMk/>
            <pc:sldMk cId="3422629595" sldId="391"/>
            <ac:spMk id="2" creationId="{BF4729A7-750C-40EF-9C82-BA576FE74079}"/>
          </ac:spMkLst>
        </pc:spChg>
        <pc:spChg chg="del">
          <ac:chgData name="Yuriy Krylov" userId="c9c5516e-9c57-410b-b963-ac3bad0cf92d" providerId="ADAL" clId="{95D195F1-7A7D-4CAD-A36F-C3AAEAE4FEE8}" dt="2021-05-20T14:15:59.863" v="1031" actId="478"/>
          <ac:spMkLst>
            <pc:docMk/>
            <pc:sldMk cId="3422629595" sldId="391"/>
            <ac:spMk id="3" creationId="{FA26A0D4-056B-4FC8-828E-558B16C1D365}"/>
          </ac:spMkLst>
        </pc:spChg>
        <pc:picChg chg="add mod modCrop">
          <ac:chgData name="Yuriy Krylov" userId="c9c5516e-9c57-410b-b963-ac3bad0cf92d" providerId="ADAL" clId="{95D195F1-7A7D-4CAD-A36F-C3AAEAE4FEE8}" dt="2021-05-20T14:18:57.265" v="1042" actId="1076"/>
          <ac:picMkLst>
            <pc:docMk/>
            <pc:sldMk cId="3422629595" sldId="391"/>
            <ac:picMk id="5" creationId="{0C6C02CB-F9E8-4353-A762-F2383AA05658}"/>
          </ac:picMkLst>
        </pc:picChg>
      </pc:sldChg>
      <pc:sldMasterChg chg="delSldLayout">
        <pc:chgData name="Yuriy Krylov" userId="c9c5516e-9c57-410b-b963-ac3bad0cf92d" providerId="ADAL" clId="{95D195F1-7A7D-4CAD-A36F-C3AAEAE4FEE8}" dt="2021-05-20T12:04:28.509" v="769" actId="47"/>
        <pc:sldMasterMkLst>
          <pc:docMk/>
          <pc:sldMasterMk cId="824318088" sldId="2147483671"/>
        </pc:sldMasterMkLst>
        <pc:sldLayoutChg chg="del">
          <pc:chgData name="Yuriy Krylov" userId="c9c5516e-9c57-410b-b963-ac3bad0cf92d" providerId="ADAL" clId="{95D195F1-7A7D-4CAD-A36F-C3AAEAE4FEE8}" dt="2021-05-20T12:04:28.509" v="769" actId="47"/>
          <pc:sldLayoutMkLst>
            <pc:docMk/>
            <pc:sldMasterMk cId="824318088" sldId="2147483671"/>
            <pc:sldLayoutMk cId="3210783904" sldId="2147483685"/>
          </pc:sldLayoutMkLst>
        </pc:sldLayoutChg>
      </pc:sldMasterChg>
    </pc:docChg>
  </pc:docChgLst>
  <pc:docChgLst>
    <pc:chgData name="Yuriy Krylov" userId="c9c5516e-9c57-410b-b963-ac3bad0cf92d" providerId="ADAL" clId="{95F98119-89DC-4C08-987C-C0FC131B1EF6}"/>
    <pc:docChg chg="modSld sldOrd">
      <pc:chgData name="Yuriy Krylov" userId="c9c5516e-9c57-410b-b963-ac3bad0cf92d" providerId="ADAL" clId="{95F98119-89DC-4C08-987C-C0FC131B1EF6}" dt="2021-05-20T11:27:37.582" v="1"/>
      <pc:docMkLst>
        <pc:docMk/>
      </pc:docMkLst>
      <pc:sldChg chg="ord">
        <pc:chgData name="Yuriy Krylov" userId="c9c5516e-9c57-410b-b963-ac3bad0cf92d" providerId="ADAL" clId="{95F98119-89DC-4C08-987C-C0FC131B1EF6}" dt="2021-05-20T11:27:37.582" v="1"/>
        <pc:sldMkLst>
          <pc:docMk/>
          <pc:sldMk cId="1176329853" sldId="359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E42CC1-7A37-4F52-8CA3-DF77A83FDEE5}" type="datetimeFigureOut">
              <a:rPr lang="ru-RU" smtClean="0"/>
              <a:t>20.05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39DA06-D2AF-4DEC-95B5-7D453ED0262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40611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35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709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3063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417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1771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126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48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483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7348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6.png"/><Relationship Id="rId4" Type="http://schemas.openxmlformats.org/officeDocument/2006/relationships/hyperlink" Target="mailto:info@Zyfra.com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19">
            <a:extLst>
              <a:ext uri="{FF2B5EF4-FFF2-40B4-BE49-F238E27FC236}">
                <a16:creationId xmlns:a16="http://schemas.microsoft.com/office/drawing/2014/main" id="{B54FA20D-A115-5A4E-8809-942AE6A79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548357" y="3269385"/>
            <a:ext cx="13716002" cy="7177231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9887E66-E139-D848-9F55-72B38CA19B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0391" y="2031647"/>
            <a:ext cx="3047874" cy="895002"/>
          </a:xfrm>
          <a:prstGeom prst="rect">
            <a:avLst/>
          </a:prstGeom>
        </p:spPr>
      </p:pic>
      <p:sp>
        <p:nvSpPr>
          <p:cNvPr id="7" name="Рисунок 9">
            <a:extLst>
              <a:ext uri="{FF2B5EF4-FFF2-40B4-BE49-F238E27FC236}">
                <a16:creationId xmlns:a16="http://schemas.microsoft.com/office/drawing/2014/main" id="{C99ACA0F-4A67-2C47-A747-214EA79B4EA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396061" y="1866905"/>
            <a:ext cx="3177969" cy="1060450"/>
          </a:xfrm>
          <a:prstGeom prst="rect">
            <a:avLst/>
          </a:prstGeom>
        </p:spPr>
        <p:txBody>
          <a:bodyPr anchor="ctr"/>
          <a:lstStyle>
            <a:lvl1pPr algn="ctr">
              <a:defRPr sz="28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ru-RU" dirty="0"/>
              <a:t>Ваш логотип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07D545C-EFCB-754E-A138-2BE164544B92}"/>
              </a:ext>
            </a:extLst>
          </p:cNvPr>
          <p:cNvSpPr/>
          <p:nvPr userDrawn="1"/>
        </p:nvSpPr>
        <p:spPr>
          <a:xfrm>
            <a:off x="1396068" y="12319698"/>
            <a:ext cx="6011943" cy="813556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ct val="150000"/>
              </a:lnSpc>
            </a:pPr>
            <a:r>
              <a:rPr lang="en-US" sz="3598" dirty="0">
                <a:solidFill>
                  <a:srgbClr val="76AF3E"/>
                </a:solidFill>
                <a:latin typeface="Lato" panose="020F0502020204030203" pitchFamily="34" charset="0"/>
                <a:cs typeface="Lato" panose="020F0502020204030203" pitchFamily="34" charset="0"/>
              </a:rPr>
              <a:t>zyfra.com</a:t>
            </a:r>
            <a:endParaRPr lang="ru-RU" sz="3598" spc="-2" dirty="0">
              <a:solidFill>
                <a:srgbClr val="76AF3E"/>
              </a:solidFill>
              <a:latin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Текст 6">
            <a:extLst>
              <a:ext uri="{FF2B5EF4-FFF2-40B4-BE49-F238E27FC236}">
                <a16:creationId xmlns:a16="http://schemas.microsoft.com/office/drawing/2014/main" id="{B9BE3BCB-164F-A043-BB40-D60B007C6A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96112" y="7315205"/>
            <a:ext cx="13497827" cy="4921254"/>
          </a:xfrm>
          <a:prstGeom prst="rect">
            <a:avLst/>
          </a:prstGeom>
        </p:spPr>
        <p:txBody>
          <a:bodyPr/>
          <a:lstStyle>
            <a:lvl1pPr>
              <a:defRPr sz="6798" b="1">
                <a:solidFill>
                  <a:schemeClr val="bg1"/>
                </a:solidFill>
              </a:defRPr>
            </a:lvl1pPr>
            <a:lvl2pPr>
              <a:defRPr sz="6798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69456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4700" y="2"/>
            <a:ext cx="12564370" cy="289877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5998" b="1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5" name="Треугольник 56">
            <a:extLst>
              <a:ext uri="{FF2B5EF4-FFF2-40B4-BE49-F238E27FC236}">
                <a16:creationId xmlns:a16="http://schemas.microsoft.com/office/drawing/2014/main" id="{0CFD9F69-20E2-4D77-80B9-E91CCBB4FD8A}"/>
              </a:ext>
            </a:extLst>
          </p:cNvPr>
          <p:cNvSpPr/>
          <p:nvPr/>
        </p:nvSpPr>
        <p:spPr>
          <a:xfrm rot="5400000">
            <a:off x="-2524" y="2525"/>
            <a:ext cx="1694046" cy="1688990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598" dirty="0"/>
          </a:p>
        </p:txBody>
      </p:sp>
      <p:sp>
        <p:nvSpPr>
          <p:cNvPr id="6" name="Треугольник 7">
            <a:extLst>
              <a:ext uri="{FF2B5EF4-FFF2-40B4-BE49-F238E27FC236}">
                <a16:creationId xmlns:a16="http://schemas.microsoft.com/office/drawing/2014/main" id="{9F4F003E-4893-450E-88A0-F8CBEF65D8FE}"/>
              </a:ext>
            </a:extLst>
          </p:cNvPr>
          <p:cNvSpPr/>
          <p:nvPr/>
        </p:nvSpPr>
        <p:spPr>
          <a:xfrm rot="16200000">
            <a:off x="23746508" y="13080099"/>
            <a:ext cx="636856" cy="634955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598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62C3C3F-5D3F-4EF6-B3A9-C9AE5AD10C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934700" y="2923360"/>
            <a:ext cx="12564370" cy="8016876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AEE383F-842C-467B-9042-8D7C04B4E1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36348" y="11992891"/>
            <a:ext cx="4262723" cy="1309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5522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ext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F712ECC-706D-4CF2-B184-AF82F20F50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" y="0"/>
            <a:ext cx="24381630" cy="13716000"/>
          </a:xfrm>
          <a:prstGeom prst="rect">
            <a:avLst/>
          </a:prstGeom>
        </p:spPr>
      </p:pic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4700" y="2"/>
            <a:ext cx="12564370" cy="289877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5998" b="1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5" name="Треугольник 56">
            <a:extLst>
              <a:ext uri="{FF2B5EF4-FFF2-40B4-BE49-F238E27FC236}">
                <a16:creationId xmlns:a16="http://schemas.microsoft.com/office/drawing/2014/main" id="{0CFD9F69-20E2-4D77-80B9-E91CCBB4FD8A}"/>
              </a:ext>
            </a:extLst>
          </p:cNvPr>
          <p:cNvSpPr/>
          <p:nvPr/>
        </p:nvSpPr>
        <p:spPr>
          <a:xfrm rot="5400000">
            <a:off x="-2524" y="2525"/>
            <a:ext cx="1694046" cy="1688990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598" dirty="0"/>
          </a:p>
        </p:txBody>
      </p:sp>
      <p:sp>
        <p:nvSpPr>
          <p:cNvPr id="6" name="Треугольник 7">
            <a:extLst>
              <a:ext uri="{FF2B5EF4-FFF2-40B4-BE49-F238E27FC236}">
                <a16:creationId xmlns:a16="http://schemas.microsoft.com/office/drawing/2014/main" id="{9F4F003E-4893-450E-88A0-F8CBEF65D8FE}"/>
              </a:ext>
            </a:extLst>
          </p:cNvPr>
          <p:cNvSpPr/>
          <p:nvPr/>
        </p:nvSpPr>
        <p:spPr>
          <a:xfrm rot="16200000">
            <a:off x="23746508" y="13080099"/>
            <a:ext cx="636856" cy="634955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598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62C3C3F-5D3F-4EF6-B3A9-C9AE5AD10C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934700" y="2923360"/>
            <a:ext cx="12564370" cy="8016876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B417552C-00E1-40DA-BB80-E089B288A7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36348" y="11992891"/>
            <a:ext cx="4262723" cy="1309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3657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реугольник 56">
            <a:extLst>
              <a:ext uri="{FF2B5EF4-FFF2-40B4-BE49-F238E27FC236}">
                <a16:creationId xmlns:a16="http://schemas.microsoft.com/office/drawing/2014/main" id="{0CFD9F69-20E2-4D77-80B9-E91CCBB4FD8A}"/>
              </a:ext>
            </a:extLst>
          </p:cNvPr>
          <p:cNvSpPr/>
          <p:nvPr/>
        </p:nvSpPr>
        <p:spPr>
          <a:xfrm rot="5400000">
            <a:off x="-2524" y="2525"/>
            <a:ext cx="1694046" cy="1688990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598" dirty="0"/>
          </a:p>
        </p:txBody>
      </p:sp>
      <p:sp>
        <p:nvSpPr>
          <p:cNvPr id="6" name="Треугольник 7">
            <a:extLst>
              <a:ext uri="{FF2B5EF4-FFF2-40B4-BE49-F238E27FC236}">
                <a16:creationId xmlns:a16="http://schemas.microsoft.com/office/drawing/2014/main" id="{9F4F003E-4893-450E-88A0-F8CBEF65D8FE}"/>
              </a:ext>
            </a:extLst>
          </p:cNvPr>
          <p:cNvSpPr/>
          <p:nvPr/>
        </p:nvSpPr>
        <p:spPr>
          <a:xfrm rot="16200000">
            <a:off x="23746508" y="13080099"/>
            <a:ext cx="636856" cy="634955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598" dirty="0"/>
          </a:p>
        </p:txBody>
      </p:sp>
      <p:sp>
        <p:nvSpPr>
          <p:cNvPr id="10" name="Заголовок 8">
            <a:extLst>
              <a:ext uri="{FF2B5EF4-FFF2-40B4-BE49-F238E27FC236}">
                <a16:creationId xmlns:a16="http://schemas.microsoft.com/office/drawing/2014/main" id="{C8B0A944-7E9D-4E09-BE9C-81A5A2C45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4700" y="2"/>
            <a:ext cx="12564370" cy="289877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5998" b="1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5B07400-1B09-4AA2-9746-5BA33E06F8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36348" y="11992891"/>
            <a:ext cx="4262723" cy="1309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66764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реугольник 56">
            <a:extLst>
              <a:ext uri="{FF2B5EF4-FFF2-40B4-BE49-F238E27FC236}">
                <a16:creationId xmlns:a16="http://schemas.microsoft.com/office/drawing/2014/main" id="{0CFD9F69-20E2-4D77-80B9-E91CCBB4FD8A}"/>
              </a:ext>
            </a:extLst>
          </p:cNvPr>
          <p:cNvSpPr/>
          <p:nvPr/>
        </p:nvSpPr>
        <p:spPr>
          <a:xfrm rot="5400000">
            <a:off x="-2524" y="2525"/>
            <a:ext cx="1694046" cy="1688990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598" dirty="0"/>
          </a:p>
        </p:txBody>
      </p:sp>
      <p:sp>
        <p:nvSpPr>
          <p:cNvPr id="6" name="Треугольник 7">
            <a:extLst>
              <a:ext uri="{FF2B5EF4-FFF2-40B4-BE49-F238E27FC236}">
                <a16:creationId xmlns:a16="http://schemas.microsoft.com/office/drawing/2014/main" id="{9F4F003E-4893-450E-88A0-F8CBEF65D8FE}"/>
              </a:ext>
            </a:extLst>
          </p:cNvPr>
          <p:cNvSpPr/>
          <p:nvPr/>
        </p:nvSpPr>
        <p:spPr>
          <a:xfrm rot="16200000">
            <a:off x="23746508" y="13080099"/>
            <a:ext cx="636856" cy="634955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598" dirty="0"/>
          </a:p>
        </p:txBody>
      </p:sp>
      <p:sp>
        <p:nvSpPr>
          <p:cNvPr id="10" name="Заголовок 8">
            <a:extLst>
              <a:ext uri="{FF2B5EF4-FFF2-40B4-BE49-F238E27FC236}">
                <a16:creationId xmlns:a16="http://schemas.microsoft.com/office/drawing/2014/main" id="{C8B0A944-7E9D-4E09-BE9C-81A5A2C45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4700" y="2"/>
            <a:ext cx="12564370" cy="289877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5998" b="1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5B07400-1B09-4AA2-9746-5BA33E06F8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36348" y="11992891"/>
            <a:ext cx="4262723" cy="130980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3235A32-6937-4807-B8F7-F67CDAB219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" y="0"/>
            <a:ext cx="24381630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965414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лайд 2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реугольник 10">
            <a:extLst>
              <a:ext uri="{FF2B5EF4-FFF2-40B4-BE49-F238E27FC236}">
                <a16:creationId xmlns:a16="http://schemas.microsoft.com/office/drawing/2014/main" id="{3FAB2487-5A4D-428E-B1AF-31EF03CAE1CC}"/>
              </a:ext>
            </a:extLst>
          </p:cNvPr>
          <p:cNvSpPr/>
          <p:nvPr/>
        </p:nvSpPr>
        <p:spPr>
          <a:xfrm rot="5400000">
            <a:off x="-2524" y="2525"/>
            <a:ext cx="1694046" cy="1688990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598" dirty="0"/>
          </a:p>
        </p:txBody>
      </p:sp>
      <p:pic>
        <p:nvPicPr>
          <p:cNvPr id="9" name="Изображение 15">
            <a:extLst>
              <a:ext uri="{FF2B5EF4-FFF2-40B4-BE49-F238E27FC236}">
                <a16:creationId xmlns:a16="http://schemas.microsoft.com/office/drawing/2014/main" id="{1E5F2961-576D-440E-9E85-9455923D0A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2453356" y="3269389"/>
            <a:ext cx="13716002" cy="7177231"/>
          </a:xfrm>
          <a:prstGeom prst="rect">
            <a:avLst/>
          </a:prstGeom>
        </p:spPr>
      </p:pic>
      <p:sp>
        <p:nvSpPr>
          <p:cNvPr id="14" name="Треугольник 10">
            <a:extLst>
              <a:ext uri="{FF2B5EF4-FFF2-40B4-BE49-F238E27FC236}">
                <a16:creationId xmlns:a16="http://schemas.microsoft.com/office/drawing/2014/main" id="{762AFE6D-0C3E-46C4-BE15-374F63C60C3B}"/>
              </a:ext>
            </a:extLst>
          </p:cNvPr>
          <p:cNvSpPr/>
          <p:nvPr userDrawn="1"/>
        </p:nvSpPr>
        <p:spPr>
          <a:xfrm rot="5400000">
            <a:off x="-2528" y="2525"/>
            <a:ext cx="1694046" cy="1688990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62A7F47-4748-44D7-9A27-A74CB110B426}"/>
              </a:ext>
            </a:extLst>
          </p:cNvPr>
          <p:cNvSpPr/>
          <p:nvPr/>
        </p:nvSpPr>
        <p:spPr>
          <a:xfrm>
            <a:off x="8504142" y="3740153"/>
            <a:ext cx="4825686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>
                <a:solidFill>
                  <a:srgbClr val="FFFFFF"/>
                </a:solidFill>
                <a:latin typeface="Lato" charset="0"/>
                <a:ea typeface="Lato" charset="0"/>
                <a:cs typeface="Lato" charset="0"/>
              </a:rPr>
              <a:t>119311</a:t>
            </a:r>
            <a:r>
              <a:rPr lang="nl-NL" sz="2800" dirty="0">
                <a:solidFill>
                  <a:srgbClr val="FFFFFF"/>
                </a:solidFill>
                <a:latin typeface="Lato" charset="0"/>
                <a:ea typeface="Lato" charset="0"/>
                <a:cs typeface="Lato" charset="0"/>
              </a:rPr>
              <a:t>, Москва</a:t>
            </a:r>
          </a:p>
          <a:p>
            <a:r>
              <a:rPr lang="ru-RU" sz="2800" dirty="0">
                <a:solidFill>
                  <a:srgbClr val="FFFFFF"/>
                </a:solidFill>
                <a:latin typeface="Lato" charset="0"/>
                <a:ea typeface="Lato" charset="0"/>
                <a:cs typeface="Lato" charset="0"/>
              </a:rPr>
              <a:t>Пр. Вернадского, 6</a:t>
            </a:r>
          </a:p>
          <a:p>
            <a:endParaRPr lang="ru-RU" sz="2800" dirty="0">
              <a:solidFill>
                <a:srgbClr val="FFFFFF"/>
              </a:solidFill>
              <a:latin typeface="Lato" charset="0"/>
              <a:ea typeface="Lato" charset="0"/>
              <a:cs typeface="Lato" charset="0"/>
            </a:endParaRPr>
          </a:p>
          <a:p>
            <a:r>
              <a:rPr lang="mr-IN" sz="2800" dirty="0">
                <a:solidFill>
                  <a:srgbClr val="85B421"/>
                </a:solidFill>
                <a:latin typeface="Lato" charset="0"/>
                <a:ea typeface="Lato" charset="0"/>
                <a:cs typeface="Lato" charset="0"/>
              </a:rPr>
              <a:t>+7 (495) 665-91-31</a:t>
            </a:r>
          </a:p>
          <a:p>
            <a:r>
              <a:rPr lang="en-US" sz="2800" dirty="0">
                <a:solidFill>
                  <a:srgbClr val="FFFFFF"/>
                </a:solidFill>
                <a:latin typeface="Lato" charset="0"/>
                <a:ea typeface="Lato" charset="0"/>
                <a:cs typeface="Lato" charset="0"/>
              </a:rPr>
              <a:t>info@zyfra.com</a:t>
            </a:r>
            <a:endParaRPr lang="ru-RU" sz="2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BB390F6-8683-457B-B68D-C566E5260C7E}"/>
              </a:ext>
            </a:extLst>
          </p:cNvPr>
          <p:cNvSpPr/>
          <p:nvPr/>
        </p:nvSpPr>
        <p:spPr>
          <a:xfrm>
            <a:off x="8504143" y="6607048"/>
            <a:ext cx="5130466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fi-FI" sz="2800" b="0" i="0" u="none" strike="noStrike" baseline="0" dirty="0">
                <a:solidFill>
                  <a:srgbClr val="FFFFFF"/>
                </a:solidFill>
                <a:latin typeface="Lato" charset="0"/>
                <a:ea typeface="Lato" charset="0"/>
                <a:cs typeface="Lato" charset="0"/>
              </a:rPr>
              <a:t>00240, Helsinki</a:t>
            </a:r>
          </a:p>
          <a:p>
            <a:pPr algn="l"/>
            <a:r>
              <a:rPr lang="fi-FI" sz="2800" b="0" i="0" u="none" strike="noStrike" baseline="0" dirty="0">
                <a:solidFill>
                  <a:srgbClr val="FFFFFF"/>
                </a:solidFill>
                <a:latin typeface="Lato" charset="0"/>
                <a:ea typeface="Lato" charset="0"/>
                <a:cs typeface="Lato" charset="0"/>
              </a:rPr>
              <a:t>Pasilankatu 2</a:t>
            </a:r>
            <a:endParaRPr lang="ru-RU" sz="2800" b="0" i="0" u="none" strike="noStrike" baseline="0" dirty="0">
              <a:solidFill>
                <a:srgbClr val="FFFFFF"/>
              </a:solidFill>
              <a:latin typeface="Lato" charset="0"/>
              <a:ea typeface="Lato" charset="0"/>
              <a:cs typeface="Lato" charset="0"/>
            </a:endParaRPr>
          </a:p>
          <a:p>
            <a:pPr algn="l"/>
            <a:endParaRPr lang="fi-FI" sz="2800" b="0" i="0" u="none" strike="noStrike" baseline="0" dirty="0">
              <a:solidFill>
                <a:srgbClr val="FFFFFF"/>
              </a:solidFill>
              <a:latin typeface="Lato" charset="0"/>
              <a:ea typeface="Lato" charset="0"/>
              <a:cs typeface="Lato" charset="0"/>
            </a:endParaRPr>
          </a:p>
          <a:p>
            <a:r>
              <a:rPr lang="mr-IN" sz="2800" dirty="0">
                <a:solidFill>
                  <a:srgbClr val="85B421"/>
                </a:solidFill>
                <a:latin typeface="Lato" charset="0"/>
                <a:ea typeface="Lato" charset="0"/>
                <a:cs typeface="Lato" charset="0"/>
              </a:rPr>
              <a:t>+358 9 4272 5025</a:t>
            </a:r>
            <a:endParaRPr lang="ru-RU" sz="2800" dirty="0">
              <a:solidFill>
                <a:srgbClr val="85B421"/>
              </a:solidFill>
              <a:latin typeface="Lato" charset="0"/>
              <a:ea typeface="Lato" charset="0"/>
              <a:cs typeface="Lato" charset="0"/>
            </a:endParaRPr>
          </a:p>
          <a:p>
            <a:pPr algn="l"/>
            <a:r>
              <a:rPr lang="en-US" sz="2800" b="0" i="0" u="none" strike="noStrike" baseline="0" dirty="0">
                <a:solidFill>
                  <a:srgbClr val="FFFFFF"/>
                </a:solidFill>
                <a:latin typeface="Lato" charset="0"/>
                <a:ea typeface="Lato" charset="0"/>
                <a:cs typeface="Lato" charset="0"/>
              </a:rPr>
              <a:t>hello@zyfra.com</a:t>
            </a:r>
            <a:endParaRPr lang="ru-RU" sz="2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3" name="Прямоугольник 7">
            <a:extLst>
              <a:ext uri="{FF2B5EF4-FFF2-40B4-BE49-F238E27FC236}">
                <a16:creationId xmlns:a16="http://schemas.microsoft.com/office/drawing/2014/main" id="{8A928B27-77EE-4BE1-A3BD-F30DF2E9316D}"/>
              </a:ext>
            </a:extLst>
          </p:cNvPr>
          <p:cNvSpPr/>
          <p:nvPr userDrawn="1"/>
        </p:nvSpPr>
        <p:spPr>
          <a:xfrm>
            <a:off x="8911984" y="12730085"/>
            <a:ext cx="2308310" cy="523220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/>
            <a:r>
              <a:rPr lang="en-US" sz="2800" dirty="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zyfra.com</a:t>
            </a:r>
          </a:p>
        </p:txBody>
      </p:sp>
      <p:pic>
        <p:nvPicPr>
          <p:cNvPr id="15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B5462BE5-9561-41D9-85D5-1632718B323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88954" y="9883202"/>
            <a:ext cx="2754369" cy="2754548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488B4EF1-21E3-4098-B48A-7E70225C1910}"/>
              </a:ext>
            </a:extLst>
          </p:cNvPr>
          <p:cNvGrpSpPr/>
          <p:nvPr userDrawn="1"/>
        </p:nvGrpSpPr>
        <p:grpSpPr>
          <a:xfrm>
            <a:off x="8688955" y="9252345"/>
            <a:ext cx="2911634" cy="458278"/>
            <a:chOff x="2526506" y="5416249"/>
            <a:chExt cx="2478926" cy="390146"/>
          </a:xfrm>
        </p:grpSpPr>
        <p:sp>
          <p:nvSpPr>
            <p:cNvPr id="17" name="Прямоугольник 1">
              <a:hlinkClick r:id="rId4"/>
              <a:extLst>
                <a:ext uri="{FF2B5EF4-FFF2-40B4-BE49-F238E27FC236}">
                  <a16:creationId xmlns:a16="http://schemas.microsoft.com/office/drawing/2014/main" id="{865885B8-F2B6-4C4A-82ED-D29D03ED3197}"/>
                </a:ext>
              </a:extLst>
            </p:cNvPr>
            <p:cNvSpPr/>
            <p:nvPr/>
          </p:nvSpPr>
          <p:spPr>
            <a:xfrm>
              <a:off x="2526506" y="5424154"/>
              <a:ext cx="2345032" cy="382241"/>
            </a:xfrm>
            <a:prstGeom prst="rect">
              <a:avLst/>
            </a:prstGeom>
            <a:solidFill>
              <a:srgbClr val="76AF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dirty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18" name="Picture 17" descr="A close up of a logo&#10;&#10;Description automatically generated">
              <a:extLst>
                <a:ext uri="{FF2B5EF4-FFF2-40B4-BE49-F238E27FC236}">
                  <a16:creationId xmlns:a16="http://schemas.microsoft.com/office/drawing/2014/main" id="{02EB7D8E-6FA0-4DB8-8BD9-D546A5EB22A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06991" y="5482901"/>
              <a:ext cx="271687" cy="271688"/>
            </a:xfrm>
            <a:prstGeom prst="rect">
              <a:avLst/>
            </a:prstGeom>
          </p:spPr>
        </p:pic>
        <p:sp>
          <p:nvSpPr>
            <p:cNvPr id="19" name="Прямоугольник 2">
              <a:extLst>
                <a:ext uri="{FF2B5EF4-FFF2-40B4-BE49-F238E27FC236}">
                  <a16:creationId xmlns:a16="http://schemas.microsoft.com/office/drawing/2014/main" id="{F1C29ADE-ED7A-4D92-95E4-32D2352A1A45}"/>
                </a:ext>
              </a:extLst>
            </p:cNvPr>
            <p:cNvSpPr/>
            <p:nvPr/>
          </p:nvSpPr>
          <p:spPr>
            <a:xfrm>
              <a:off x="2819563" y="5416249"/>
              <a:ext cx="2185869" cy="3406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2000" b="1" dirty="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НАПИСАТЬ НАМ</a:t>
              </a:r>
            </a:p>
          </p:txBody>
        </p:sp>
      </p:grpSp>
      <p:sp>
        <p:nvSpPr>
          <p:cNvPr id="5" name="Текст 4">
            <a:extLst>
              <a:ext uri="{FF2B5EF4-FFF2-40B4-BE49-F238E27FC236}">
                <a16:creationId xmlns:a16="http://schemas.microsoft.com/office/drawing/2014/main" id="{CE14EB69-CFDD-D245-8CCB-A053D141324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047100" y="3740153"/>
            <a:ext cx="4368910" cy="5113666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Ваш адрес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55B6F746-B797-8541-BE0A-229383DAA2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954" y="1901623"/>
            <a:ext cx="3047874" cy="895002"/>
          </a:xfrm>
          <a:prstGeom prst="rect">
            <a:avLst/>
          </a:prstGeom>
        </p:spPr>
      </p:pic>
      <p:sp>
        <p:nvSpPr>
          <p:cNvPr id="21" name="Рисунок 9">
            <a:extLst>
              <a:ext uri="{FF2B5EF4-FFF2-40B4-BE49-F238E27FC236}">
                <a16:creationId xmlns:a16="http://schemas.microsoft.com/office/drawing/2014/main" id="{92040318-9E53-F24A-A11B-094F171E8CD9}"/>
              </a:ext>
            </a:extLst>
          </p:cNvPr>
          <p:cNvSpPr>
            <a:spLocks noGrp="1"/>
          </p:cNvSpPr>
          <p:nvPr userDrawn="1">
            <p:ph type="pic" sz="quarter" idx="12" hasCustomPrompt="1"/>
          </p:nvPr>
        </p:nvSpPr>
        <p:spPr>
          <a:xfrm>
            <a:off x="2047100" y="1818899"/>
            <a:ext cx="4368910" cy="1060450"/>
          </a:xfrm>
          <a:prstGeom prst="rect">
            <a:avLst/>
          </a:prstGeom>
        </p:spPr>
        <p:txBody>
          <a:bodyPr anchor="ctr"/>
          <a:lstStyle>
            <a:lvl1pPr algn="ctr">
              <a:defRPr sz="280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ru-RU" dirty="0"/>
              <a:t>Ваш логотип</a:t>
            </a:r>
          </a:p>
        </p:txBody>
      </p:sp>
    </p:spTree>
    <p:extLst>
      <p:ext uri="{BB962C8B-B14F-4D97-AF65-F5344CB8AC3E}">
        <p14:creationId xmlns:p14="http://schemas.microsoft.com/office/powerpoint/2010/main" val="10333444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4318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4" r:id="rId3"/>
    <p:sldLayoutId id="2147483667" r:id="rId4"/>
    <p:sldLayoutId id="2147483668" r:id="rId5"/>
    <p:sldLayoutId id="2147483670" r:id="rId6"/>
  </p:sldLayoutIdLst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77" indent="-457177" algn="l" defTabSz="1828709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53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886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240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594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89E9BFD-4632-4288-A09C-DB9B45C5C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969" y="4068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89E9BFD-4632-4288-A09C-DB9B45C5C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969" y="4068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4F0228A-29B7-4723-9722-221B2224251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94" y="895"/>
            <a:ext cx="317459" cy="3174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6000" b="1" dirty="0">
              <a:sym typeface="Lato" panose="020F0502020204030203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ru-RU" dirty="0"/>
              <a:t>Цифровые советчики на обогатительном переделе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9FE1F116-C1E4-4C8D-9F3A-FB5A9266A2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571469" indent="-571469">
              <a:lnSpc>
                <a:spcPct val="100000"/>
              </a:lnSpc>
              <a:buClr>
                <a:srgbClr val="76AF3E"/>
              </a:buClr>
            </a:pPr>
            <a:r>
              <a:rPr lang="ru-RU" dirty="0"/>
              <a:t>Структура и функции цифрового советчика</a:t>
            </a:r>
          </a:p>
          <a:p>
            <a:pPr marL="571469" indent="-571469">
              <a:lnSpc>
                <a:spcPct val="100000"/>
              </a:lnSpc>
              <a:buClr>
                <a:srgbClr val="76AF3E"/>
              </a:buClr>
            </a:pPr>
            <a:r>
              <a:rPr lang="ru-RU" dirty="0"/>
              <a:t>Выбор производственных показателей для анализа с целью внедрения цифрового советчика, рассмотрим примеры производственных показателей</a:t>
            </a:r>
          </a:p>
          <a:p>
            <a:pPr marL="571469" indent="-571469">
              <a:lnSpc>
                <a:spcPct val="100000"/>
              </a:lnSpc>
              <a:buClr>
                <a:srgbClr val="76AF3E"/>
              </a:buClr>
            </a:pPr>
            <a:r>
              <a:rPr lang="ru-RU" dirty="0"/>
              <a:t>Проведение факторного анализа</a:t>
            </a:r>
          </a:p>
          <a:p>
            <a:pPr marL="571469" indent="-571469">
              <a:lnSpc>
                <a:spcPct val="100000"/>
              </a:lnSpc>
              <a:buClr>
                <a:srgbClr val="76AF3E"/>
              </a:buClr>
            </a:pPr>
            <a:r>
              <a:rPr lang="ru-RU" dirty="0"/>
              <a:t>Основы статистического анализа производственных показателей (выбросы, гистограмма</a:t>
            </a:r>
            <a:r>
              <a:rPr lang="ru-RU"/>
              <a:t>, дерево </a:t>
            </a:r>
            <a:r>
              <a:rPr lang="ru-RU" dirty="0"/>
              <a:t>решений и </a:t>
            </a:r>
            <a:r>
              <a:rPr lang="ru-RU"/>
              <a:t>т.д.)</a:t>
            </a:r>
            <a:endParaRPr lang="ru-RU" dirty="0"/>
          </a:p>
          <a:p>
            <a:pPr marL="571469" indent="-571469">
              <a:lnSpc>
                <a:spcPct val="100000"/>
              </a:lnSpc>
              <a:buClr>
                <a:srgbClr val="76AF3E"/>
              </a:buClr>
            </a:pPr>
            <a:r>
              <a:rPr lang="ru-RU" dirty="0"/>
              <a:t>Пример анализа производственного процесса</a:t>
            </a:r>
          </a:p>
          <a:p>
            <a:pPr marL="571469" indent="-571469">
              <a:lnSpc>
                <a:spcPct val="100000"/>
              </a:lnSpc>
              <a:buClr>
                <a:srgbClr val="76AF3E"/>
              </a:buClr>
            </a:pPr>
            <a:r>
              <a:rPr lang="ru-RU" dirty="0"/>
              <a:t>Возможные экономические эффекты от внедрения цифрового советчика</a:t>
            </a:r>
          </a:p>
        </p:txBody>
      </p:sp>
      <p:sp>
        <p:nvSpPr>
          <p:cNvPr id="57" name="Треугольник 56"/>
          <p:cNvSpPr/>
          <p:nvPr/>
        </p:nvSpPr>
        <p:spPr>
          <a:xfrm rot="5400000">
            <a:off x="-1680" y="3363"/>
            <a:ext cx="1693826" cy="1688880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200" dirty="0"/>
          </a:p>
        </p:txBody>
      </p:sp>
      <p:sp>
        <p:nvSpPr>
          <p:cNvPr id="8" name="Треугольник 7"/>
          <p:cNvSpPr/>
          <p:nvPr/>
        </p:nvSpPr>
        <p:spPr>
          <a:xfrm rot="16200000">
            <a:off x="23745775" y="13079265"/>
            <a:ext cx="636775" cy="634915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200" dirty="0"/>
          </a:p>
        </p:txBody>
      </p:sp>
    </p:spTree>
    <p:extLst>
      <p:ext uri="{BB962C8B-B14F-4D97-AF65-F5344CB8AC3E}">
        <p14:creationId xmlns:p14="http://schemas.microsoft.com/office/powerpoint/2010/main" val="999178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EE22B1-BAA9-4802-AAA3-979305A80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истограмма переработки руды (т</a:t>
            </a:r>
            <a:r>
              <a:rPr lang="en-US" dirty="0"/>
              <a:t>/</a:t>
            </a:r>
            <a:r>
              <a:rPr lang="ru-RU" dirty="0"/>
              <a:t>час)</a:t>
            </a:r>
          </a:p>
        </p:txBody>
      </p:sp>
      <p:pic>
        <p:nvPicPr>
          <p:cNvPr id="4" name="Рисунок 13">
            <a:extLst>
              <a:ext uri="{FF2B5EF4-FFF2-40B4-BE49-F238E27FC236}">
                <a16:creationId xmlns:a16="http://schemas.microsoft.com/office/drawing/2014/main" id="{370C52FD-44EB-4DC2-9602-5BDD24441E03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9" t="14258" r="4836" b="9375"/>
          <a:stretch/>
        </p:blipFill>
        <p:spPr>
          <a:xfrm>
            <a:off x="10165772" y="3501451"/>
            <a:ext cx="13567065" cy="545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9476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11D2C4-D609-4B89-AEBE-7FD88A835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звлечение при различной переработке</a:t>
            </a:r>
          </a:p>
        </p:txBody>
      </p:sp>
      <p:pic>
        <p:nvPicPr>
          <p:cNvPr id="4" name="Рисунок 15">
            <a:extLst>
              <a:ext uri="{FF2B5EF4-FFF2-40B4-BE49-F238E27FC236}">
                <a16:creationId xmlns:a16="http://schemas.microsoft.com/office/drawing/2014/main" id="{8AB20ECA-5B39-4B40-87D4-2DCD80A3E182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7" t="16311" r="19479" b="15753"/>
          <a:stretch/>
        </p:blipFill>
        <p:spPr>
          <a:xfrm>
            <a:off x="10732168" y="2967787"/>
            <a:ext cx="12564370" cy="537410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1934497-FF56-4AD5-8F42-4B2B4A9D977A}"/>
              </a:ext>
            </a:extLst>
          </p:cNvPr>
          <p:cNvSpPr txBox="1"/>
          <p:nvPr/>
        </p:nvSpPr>
        <p:spPr>
          <a:xfrm>
            <a:off x="11766152" y="8572274"/>
            <a:ext cx="28055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Переработка 1100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C369B3-F1F3-4AC1-9214-BE9D12B5A29A}"/>
              </a:ext>
            </a:extLst>
          </p:cNvPr>
          <p:cNvSpPr txBox="1"/>
          <p:nvPr/>
        </p:nvSpPr>
        <p:spPr>
          <a:xfrm>
            <a:off x="14886339" y="8572274"/>
            <a:ext cx="28055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Переработка 120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F6777F9-3359-41A6-90AA-91536AB439FC}"/>
              </a:ext>
            </a:extLst>
          </p:cNvPr>
          <p:cNvSpPr txBox="1"/>
          <p:nvPr/>
        </p:nvSpPr>
        <p:spPr>
          <a:xfrm>
            <a:off x="18070699" y="8585609"/>
            <a:ext cx="28055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Переработка 1300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312288-A5F7-4BB6-929F-C984C60200B5}"/>
              </a:ext>
            </a:extLst>
          </p:cNvPr>
          <p:cNvSpPr txBox="1"/>
          <p:nvPr/>
        </p:nvSpPr>
        <p:spPr>
          <a:xfrm>
            <a:off x="20917441" y="8572274"/>
            <a:ext cx="28055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Переработка 1500</a:t>
            </a:r>
          </a:p>
        </p:txBody>
      </p:sp>
    </p:spTree>
    <p:extLst>
      <p:ext uri="{BB962C8B-B14F-4D97-AF65-F5344CB8AC3E}">
        <p14:creationId xmlns:p14="http://schemas.microsoft.com/office/powerpoint/2010/main" val="42228975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621768-F286-4881-9F8C-0A6A88E4D7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рагмент дерева решений</a:t>
            </a:r>
          </a:p>
        </p:txBody>
      </p:sp>
      <p:pic>
        <p:nvPicPr>
          <p:cNvPr id="4" name="Рисунок 20">
            <a:extLst>
              <a:ext uri="{FF2B5EF4-FFF2-40B4-BE49-F238E27FC236}">
                <a16:creationId xmlns:a16="http://schemas.microsoft.com/office/drawing/2014/main" id="{FE6498C7-FE10-40C2-B95F-BC72656DA401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841" t="19900"/>
          <a:stretch/>
        </p:blipFill>
        <p:spPr bwMode="auto">
          <a:xfrm>
            <a:off x="12447879" y="2604420"/>
            <a:ext cx="9738352" cy="850715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8128144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0B8179-22C1-4289-B82F-54E1576D84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рхитектура цифрового советчика</a:t>
            </a:r>
          </a:p>
        </p:txBody>
      </p:sp>
      <p:sp>
        <p:nvSpPr>
          <p:cNvPr id="29" name="Скругленный прямоугольник 2">
            <a:extLst>
              <a:ext uri="{FF2B5EF4-FFF2-40B4-BE49-F238E27FC236}">
                <a16:creationId xmlns:a16="http://schemas.microsoft.com/office/drawing/2014/main" id="{CD83DC23-6706-4346-AD76-9A88CD48447A}"/>
              </a:ext>
            </a:extLst>
          </p:cNvPr>
          <p:cNvSpPr/>
          <p:nvPr/>
        </p:nvSpPr>
        <p:spPr>
          <a:xfrm>
            <a:off x="14234246" y="6652423"/>
            <a:ext cx="1548000" cy="792000"/>
          </a:xfrm>
          <a:prstGeom prst="round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solidFill>
                  <a:schemeClr val="tx1"/>
                </a:solidFill>
              </a:rPr>
              <a:t>Модуль взаимодействия с </a:t>
            </a:r>
            <a:r>
              <a:rPr lang="en-US" sz="1300" dirty="0" err="1">
                <a:solidFill>
                  <a:schemeClr val="tx1"/>
                </a:solidFill>
              </a:rPr>
              <a:t>IIoT</a:t>
            </a:r>
            <a:r>
              <a:rPr lang="en-US" sz="1300" dirty="0">
                <a:solidFill>
                  <a:schemeClr val="tx1"/>
                </a:solidFill>
              </a:rPr>
              <a:t> </a:t>
            </a:r>
            <a:r>
              <a:rPr lang="ru-RU" sz="1300" dirty="0">
                <a:solidFill>
                  <a:schemeClr val="tx1"/>
                </a:solidFill>
              </a:rPr>
              <a:t>платформой</a:t>
            </a:r>
          </a:p>
        </p:txBody>
      </p:sp>
      <p:sp>
        <p:nvSpPr>
          <p:cNvPr id="30" name="Скругленный прямоугольник 7">
            <a:extLst>
              <a:ext uri="{FF2B5EF4-FFF2-40B4-BE49-F238E27FC236}">
                <a16:creationId xmlns:a16="http://schemas.microsoft.com/office/drawing/2014/main" id="{2EF9C780-AD93-4A8A-B580-65D5F4D7A830}"/>
              </a:ext>
            </a:extLst>
          </p:cNvPr>
          <p:cNvSpPr/>
          <p:nvPr/>
        </p:nvSpPr>
        <p:spPr>
          <a:xfrm>
            <a:off x="11797744" y="5676241"/>
            <a:ext cx="1931905" cy="2744364"/>
          </a:xfrm>
          <a:prstGeom prst="round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err="1">
                <a:solidFill>
                  <a:schemeClr val="tx1"/>
                </a:solidFill>
              </a:rPr>
              <a:t>IIoT</a:t>
            </a:r>
            <a:r>
              <a:rPr lang="en-US" sz="1300" dirty="0">
                <a:solidFill>
                  <a:schemeClr val="tx1"/>
                </a:solidFill>
              </a:rPr>
              <a:t>-</a:t>
            </a:r>
            <a:r>
              <a:rPr lang="ru-RU" sz="1300" dirty="0">
                <a:solidFill>
                  <a:schemeClr val="tx1"/>
                </a:solidFill>
              </a:rPr>
              <a:t>платформа:</a:t>
            </a:r>
          </a:p>
          <a:p>
            <a:pPr algn="ctr"/>
            <a:r>
              <a:rPr lang="ru-RU" sz="1300" dirty="0">
                <a:solidFill>
                  <a:schemeClr val="tx1"/>
                </a:solidFill>
              </a:rPr>
              <a:t>Интеграция с внешними источниками данных</a:t>
            </a:r>
          </a:p>
          <a:p>
            <a:pPr algn="ctr"/>
            <a:r>
              <a:rPr lang="ru-RU" sz="1300" dirty="0">
                <a:solidFill>
                  <a:schemeClr val="tx1"/>
                </a:solidFill>
              </a:rPr>
              <a:t>Ручной ввод</a:t>
            </a:r>
          </a:p>
          <a:p>
            <a:pPr algn="ctr"/>
            <a:r>
              <a:rPr lang="ru-RU" sz="1300" dirty="0">
                <a:solidFill>
                  <a:schemeClr val="tx1"/>
                </a:solidFill>
              </a:rPr>
              <a:t>Интерфейс пользователя</a:t>
            </a:r>
          </a:p>
          <a:p>
            <a:pPr algn="ctr"/>
            <a:r>
              <a:rPr lang="ru-RU" sz="1300" dirty="0">
                <a:solidFill>
                  <a:schemeClr val="tx1"/>
                </a:solidFill>
              </a:rPr>
              <a:t>Хранение данных</a:t>
            </a:r>
          </a:p>
          <a:p>
            <a:pPr algn="ctr"/>
            <a:r>
              <a:rPr lang="ru-RU" sz="1300" dirty="0">
                <a:solidFill>
                  <a:schemeClr val="tx1"/>
                </a:solidFill>
              </a:rPr>
              <a:t>Администрирование</a:t>
            </a:r>
          </a:p>
        </p:txBody>
      </p:sp>
      <p:cxnSp>
        <p:nvCxnSpPr>
          <p:cNvPr id="31" name="Прямая со стрелкой 12">
            <a:extLst>
              <a:ext uri="{FF2B5EF4-FFF2-40B4-BE49-F238E27FC236}">
                <a16:creationId xmlns:a16="http://schemas.microsoft.com/office/drawing/2014/main" id="{844D84F6-D9F9-483D-85AC-EA7D26A742CB}"/>
              </a:ext>
            </a:extLst>
          </p:cNvPr>
          <p:cNvCxnSpPr/>
          <p:nvPr/>
        </p:nvCxnSpPr>
        <p:spPr>
          <a:xfrm>
            <a:off x="13735897" y="7048423"/>
            <a:ext cx="468000" cy="0"/>
          </a:xfrm>
          <a:prstGeom prst="straightConnector1">
            <a:avLst/>
          </a:prstGeom>
          <a:ln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Скругленный прямоугольник 13">
            <a:extLst>
              <a:ext uri="{FF2B5EF4-FFF2-40B4-BE49-F238E27FC236}">
                <a16:creationId xmlns:a16="http://schemas.microsoft.com/office/drawing/2014/main" id="{2A97BB18-C2A4-4DCA-BE65-F6835F232359}"/>
              </a:ext>
            </a:extLst>
          </p:cNvPr>
          <p:cNvSpPr/>
          <p:nvPr/>
        </p:nvSpPr>
        <p:spPr>
          <a:xfrm>
            <a:off x="16266636" y="6671493"/>
            <a:ext cx="1548000" cy="792000"/>
          </a:xfrm>
          <a:prstGeom prst="round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solidFill>
                  <a:schemeClr val="tx1"/>
                </a:solidFill>
              </a:rPr>
              <a:t>Модуль подготовки данных</a:t>
            </a:r>
          </a:p>
        </p:txBody>
      </p:sp>
      <p:cxnSp>
        <p:nvCxnSpPr>
          <p:cNvPr id="33" name="Прямая со стрелкой 14">
            <a:extLst>
              <a:ext uri="{FF2B5EF4-FFF2-40B4-BE49-F238E27FC236}">
                <a16:creationId xmlns:a16="http://schemas.microsoft.com/office/drawing/2014/main" id="{6219123E-F662-4036-BD84-E5FDF76284A5}"/>
              </a:ext>
            </a:extLst>
          </p:cNvPr>
          <p:cNvCxnSpPr/>
          <p:nvPr/>
        </p:nvCxnSpPr>
        <p:spPr>
          <a:xfrm>
            <a:off x="15782249" y="7067493"/>
            <a:ext cx="468000" cy="0"/>
          </a:xfrm>
          <a:prstGeom prst="straightConnector1">
            <a:avLst/>
          </a:prstGeom>
          <a:ln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Скругленный прямоугольник 15">
            <a:extLst>
              <a:ext uri="{FF2B5EF4-FFF2-40B4-BE49-F238E27FC236}">
                <a16:creationId xmlns:a16="http://schemas.microsoft.com/office/drawing/2014/main" id="{6389BBA7-A422-487B-9C1B-3868D729A0CC}"/>
              </a:ext>
            </a:extLst>
          </p:cNvPr>
          <p:cNvSpPr/>
          <p:nvPr/>
        </p:nvSpPr>
        <p:spPr>
          <a:xfrm>
            <a:off x="18312985" y="6669531"/>
            <a:ext cx="1548000" cy="792000"/>
          </a:xfrm>
          <a:prstGeom prst="round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solidFill>
                  <a:schemeClr val="tx1"/>
                </a:solidFill>
              </a:rPr>
              <a:t>Модуль </a:t>
            </a:r>
            <a:r>
              <a:rPr lang="ru-RU" sz="1300" dirty="0" err="1">
                <a:solidFill>
                  <a:schemeClr val="tx1"/>
                </a:solidFill>
              </a:rPr>
              <a:t>скоринга</a:t>
            </a:r>
            <a:endParaRPr lang="ru-RU" sz="1300" dirty="0">
              <a:solidFill>
                <a:schemeClr val="tx1"/>
              </a:solidFill>
            </a:endParaRPr>
          </a:p>
        </p:txBody>
      </p:sp>
      <p:cxnSp>
        <p:nvCxnSpPr>
          <p:cNvPr id="35" name="Прямая со стрелкой 16">
            <a:extLst>
              <a:ext uri="{FF2B5EF4-FFF2-40B4-BE49-F238E27FC236}">
                <a16:creationId xmlns:a16="http://schemas.microsoft.com/office/drawing/2014/main" id="{3DE0C29B-708E-47C8-99CF-D20C0ACAF2FA}"/>
              </a:ext>
            </a:extLst>
          </p:cNvPr>
          <p:cNvCxnSpPr/>
          <p:nvPr/>
        </p:nvCxnSpPr>
        <p:spPr>
          <a:xfrm>
            <a:off x="19867969" y="7065531"/>
            <a:ext cx="468000" cy="0"/>
          </a:xfrm>
          <a:prstGeom prst="straightConnector1">
            <a:avLst/>
          </a:prstGeom>
          <a:ln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Ромб 17">
            <a:extLst>
              <a:ext uri="{FF2B5EF4-FFF2-40B4-BE49-F238E27FC236}">
                <a16:creationId xmlns:a16="http://schemas.microsoft.com/office/drawing/2014/main" id="{8866DFE2-1BFF-4B14-BFE3-10C25C8D9D00}"/>
              </a:ext>
            </a:extLst>
          </p:cNvPr>
          <p:cNvSpPr/>
          <p:nvPr/>
        </p:nvSpPr>
        <p:spPr>
          <a:xfrm>
            <a:off x="20348861" y="6546469"/>
            <a:ext cx="1692000" cy="1080000"/>
          </a:xfrm>
          <a:prstGeom prst="diamond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solidFill>
                  <a:schemeClr val="tx1"/>
                </a:solidFill>
              </a:rPr>
              <a:t>Контроль целевых показателей</a:t>
            </a:r>
          </a:p>
        </p:txBody>
      </p:sp>
      <p:cxnSp>
        <p:nvCxnSpPr>
          <p:cNvPr id="37" name="Прямая со стрелкой 18">
            <a:extLst>
              <a:ext uri="{FF2B5EF4-FFF2-40B4-BE49-F238E27FC236}">
                <a16:creationId xmlns:a16="http://schemas.microsoft.com/office/drawing/2014/main" id="{1ABB74C3-6F81-4607-AD24-32B7BE32B4FF}"/>
              </a:ext>
            </a:extLst>
          </p:cNvPr>
          <p:cNvCxnSpPr/>
          <p:nvPr/>
        </p:nvCxnSpPr>
        <p:spPr>
          <a:xfrm>
            <a:off x="17840241" y="7059353"/>
            <a:ext cx="468000" cy="0"/>
          </a:xfrm>
          <a:prstGeom prst="straightConnector1">
            <a:avLst/>
          </a:prstGeom>
          <a:ln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19">
            <a:extLst>
              <a:ext uri="{FF2B5EF4-FFF2-40B4-BE49-F238E27FC236}">
                <a16:creationId xmlns:a16="http://schemas.microsoft.com/office/drawing/2014/main" id="{79A161A7-163B-4169-8D06-3DD46B0EC927}"/>
              </a:ext>
            </a:extLst>
          </p:cNvPr>
          <p:cNvSpPr/>
          <p:nvPr/>
        </p:nvSpPr>
        <p:spPr>
          <a:xfrm>
            <a:off x="20430041" y="5040587"/>
            <a:ext cx="1548000" cy="792000"/>
          </a:xfrm>
          <a:prstGeom prst="round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solidFill>
                  <a:schemeClr val="tx1"/>
                </a:solidFill>
              </a:rPr>
              <a:t>Хранилище рекомендаций</a:t>
            </a:r>
          </a:p>
        </p:txBody>
      </p:sp>
      <p:cxnSp>
        <p:nvCxnSpPr>
          <p:cNvPr id="39" name="Прямая со стрелкой 23">
            <a:extLst>
              <a:ext uri="{FF2B5EF4-FFF2-40B4-BE49-F238E27FC236}">
                <a16:creationId xmlns:a16="http://schemas.microsoft.com/office/drawing/2014/main" id="{4B8EFD07-411C-4FAB-94C2-75501A1503FA}"/>
              </a:ext>
            </a:extLst>
          </p:cNvPr>
          <p:cNvCxnSpPr>
            <a:stCxn id="38" idx="2"/>
            <a:endCxn id="36" idx="0"/>
          </p:cNvCxnSpPr>
          <p:nvPr/>
        </p:nvCxnSpPr>
        <p:spPr>
          <a:xfrm flipH="1">
            <a:off x="21194861" y="5832587"/>
            <a:ext cx="9180" cy="71388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Соединительная линия уступом 29">
            <a:extLst>
              <a:ext uri="{FF2B5EF4-FFF2-40B4-BE49-F238E27FC236}">
                <a16:creationId xmlns:a16="http://schemas.microsoft.com/office/drawing/2014/main" id="{3D3D05FF-6773-4E18-A926-0320E07C297A}"/>
              </a:ext>
            </a:extLst>
          </p:cNvPr>
          <p:cNvCxnSpPr/>
          <p:nvPr/>
        </p:nvCxnSpPr>
        <p:spPr>
          <a:xfrm flipV="1">
            <a:off x="21968861" y="5432887"/>
            <a:ext cx="702000" cy="1620000"/>
          </a:xfrm>
          <a:prstGeom prst="bentConnector2">
            <a:avLst/>
          </a:prstGeom>
          <a:ln>
            <a:solidFill>
              <a:srgbClr val="92D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33">
            <a:extLst>
              <a:ext uri="{FF2B5EF4-FFF2-40B4-BE49-F238E27FC236}">
                <a16:creationId xmlns:a16="http://schemas.microsoft.com/office/drawing/2014/main" id="{8B8A24B7-FF85-4502-93E8-0250F0502DFE}"/>
              </a:ext>
            </a:extLst>
          </p:cNvPr>
          <p:cNvCxnSpPr>
            <a:endCxn id="38" idx="3"/>
          </p:cNvCxnSpPr>
          <p:nvPr/>
        </p:nvCxnSpPr>
        <p:spPr>
          <a:xfrm flipH="1">
            <a:off x="21978041" y="5436587"/>
            <a:ext cx="692820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469C9AAB-4C6E-45F0-88C7-3F4B77CC6F4B}"/>
              </a:ext>
            </a:extLst>
          </p:cNvPr>
          <p:cNvSpPr txBox="1"/>
          <p:nvPr/>
        </p:nvSpPr>
        <p:spPr>
          <a:xfrm>
            <a:off x="22034485" y="6705194"/>
            <a:ext cx="4878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н</a:t>
            </a:r>
            <a:r>
              <a:rPr lang="ru-RU" sz="1300" dirty="0"/>
              <a:t>ет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90B07A3-5865-49FE-9A80-7CF14BF74EDB}"/>
              </a:ext>
            </a:extLst>
          </p:cNvPr>
          <p:cNvSpPr txBox="1"/>
          <p:nvPr/>
        </p:nvSpPr>
        <p:spPr>
          <a:xfrm>
            <a:off x="20701468" y="7576485"/>
            <a:ext cx="48787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/>
              <a:t>Да</a:t>
            </a:r>
          </a:p>
        </p:txBody>
      </p:sp>
      <p:sp>
        <p:nvSpPr>
          <p:cNvPr id="44" name="Скругленный прямоугольник 37">
            <a:extLst>
              <a:ext uri="{FF2B5EF4-FFF2-40B4-BE49-F238E27FC236}">
                <a16:creationId xmlns:a16="http://schemas.microsoft.com/office/drawing/2014/main" id="{15220B22-8A2B-462D-BF35-B9E42A6E851A}"/>
              </a:ext>
            </a:extLst>
          </p:cNvPr>
          <p:cNvSpPr/>
          <p:nvPr/>
        </p:nvSpPr>
        <p:spPr>
          <a:xfrm>
            <a:off x="18312985" y="8011911"/>
            <a:ext cx="1548000" cy="792000"/>
          </a:xfrm>
          <a:prstGeom prst="round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solidFill>
                  <a:schemeClr val="tx1"/>
                </a:solidFill>
              </a:rPr>
              <a:t>Модуль контроля бизнес-правил</a:t>
            </a:r>
          </a:p>
        </p:txBody>
      </p:sp>
      <p:cxnSp>
        <p:nvCxnSpPr>
          <p:cNvPr id="45" name="Соединительная линия уступом 39">
            <a:extLst>
              <a:ext uri="{FF2B5EF4-FFF2-40B4-BE49-F238E27FC236}">
                <a16:creationId xmlns:a16="http://schemas.microsoft.com/office/drawing/2014/main" id="{F00FC894-0B2F-4FAA-8DF8-8A70972AB5ED}"/>
              </a:ext>
            </a:extLst>
          </p:cNvPr>
          <p:cNvCxnSpPr>
            <a:endCxn id="44" idx="3"/>
          </p:cNvCxnSpPr>
          <p:nvPr/>
        </p:nvCxnSpPr>
        <p:spPr>
          <a:xfrm rot="10800000" flipV="1">
            <a:off x="19860986" y="7626471"/>
            <a:ext cx="1312937" cy="781440"/>
          </a:xfrm>
          <a:prstGeom prst="bentConnector3">
            <a:avLst>
              <a:gd name="adj1" fmla="val 50000"/>
            </a:avLst>
          </a:prstGeom>
          <a:ln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Скругленный прямоугольник 48">
            <a:extLst>
              <a:ext uri="{FF2B5EF4-FFF2-40B4-BE49-F238E27FC236}">
                <a16:creationId xmlns:a16="http://schemas.microsoft.com/office/drawing/2014/main" id="{76EB36B8-FA62-43EB-A0C3-6B411D6584D8}"/>
              </a:ext>
            </a:extLst>
          </p:cNvPr>
          <p:cNvSpPr/>
          <p:nvPr/>
        </p:nvSpPr>
        <p:spPr>
          <a:xfrm>
            <a:off x="14219129" y="5150726"/>
            <a:ext cx="1548000" cy="792000"/>
          </a:xfrm>
          <a:prstGeom prst="round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solidFill>
                  <a:schemeClr val="tx1"/>
                </a:solidFill>
              </a:rPr>
              <a:t>Модуль контроля точности</a:t>
            </a:r>
          </a:p>
        </p:txBody>
      </p:sp>
      <p:cxnSp>
        <p:nvCxnSpPr>
          <p:cNvPr id="47" name="Соединительная линия уступом 50">
            <a:extLst>
              <a:ext uri="{FF2B5EF4-FFF2-40B4-BE49-F238E27FC236}">
                <a16:creationId xmlns:a16="http://schemas.microsoft.com/office/drawing/2014/main" id="{3098035E-3C0C-4B9D-A6FE-BAB33259A7BE}"/>
              </a:ext>
            </a:extLst>
          </p:cNvPr>
          <p:cNvCxnSpPr>
            <a:stCxn id="52" idx="1"/>
            <a:endCxn id="29" idx="2"/>
          </p:cNvCxnSpPr>
          <p:nvPr/>
        </p:nvCxnSpPr>
        <p:spPr>
          <a:xfrm rot="10800000">
            <a:off x="15008246" y="7444423"/>
            <a:ext cx="1283994" cy="976182"/>
          </a:xfrm>
          <a:prstGeom prst="bentConnector2">
            <a:avLst/>
          </a:prstGeom>
          <a:ln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55">
            <a:extLst>
              <a:ext uri="{FF2B5EF4-FFF2-40B4-BE49-F238E27FC236}">
                <a16:creationId xmlns:a16="http://schemas.microsoft.com/office/drawing/2014/main" id="{2CA132D0-5A42-4AB0-96F6-117225D2663F}"/>
              </a:ext>
            </a:extLst>
          </p:cNvPr>
          <p:cNvCxnSpPr/>
          <p:nvPr/>
        </p:nvCxnSpPr>
        <p:spPr>
          <a:xfrm flipH="1">
            <a:off x="14968717" y="5937681"/>
            <a:ext cx="9180" cy="713882"/>
          </a:xfrm>
          <a:prstGeom prst="straightConnector1">
            <a:avLst/>
          </a:prstGeom>
          <a:ln>
            <a:solidFill>
              <a:srgbClr val="92D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Скругленный прямоугольник 56">
            <a:extLst>
              <a:ext uri="{FF2B5EF4-FFF2-40B4-BE49-F238E27FC236}">
                <a16:creationId xmlns:a16="http://schemas.microsoft.com/office/drawing/2014/main" id="{962A1299-1E7A-418A-9811-1D7738C84FA2}"/>
              </a:ext>
            </a:extLst>
          </p:cNvPr>
          <p:cNvSpPr/>
          <p:nvPr/>
        </p:nvSpPr>
        <p:spPr>
          <a:xfrm>
            <a:off x="16235129" y="5150726"/>
            <a:ext cx="1548000" cy="792000"/>
          </a:xfrm>
          <a:prstGeom prst="round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solidFill>
                  <a:schemeClr val="tx1"/>
                </a:solidFill>
              </a:rPr>
              <a:t>Модуль ведения журналов событий</a:t>
            </a:r>
          </a:p>
        </p:txBody>
      </p:sp>
      <p:cxnSp>
        <p:nvCxnSpPr>
          <p:cNvPr id="50" name="Прямая со стрелкой 57">
            <a:extLst>
              <a:ext uri="{FF2B5EF4-FFF2-40B4-BE49-F238E27FC236}">
                <a16:creationId xmlns:a16="http://schemas.microsoft.com/office/drawing/2014/main" id="{3D9FCE11-4057-4369-8BC8-B14CCD0C95D3}"/>
              </a:ext>
            </a:extLst>
          </p:cNvPr>
          <p:cNvCxnSpPr/>
          <p:nvPr/>
        </p:nvCxnSpPr>
        <p:spPr>
          <a:xfrm>
            <a:off x="15767129" y="5586538"/>
            <a:ext cx="468000" cy="0"/>
          </a:xfrm>
          <a:prstGeom prst="straightConnector1">
            <a:avLst/>
          </a:prstGeom>
          <a:ln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8">
            <a:extLst>
              <a:ext uri="{FF2B5EF4-FFF2-40B4-BE49-F238E27FC236}">
                <a16:creationId xmlns:a16="http://schemas.microsoft.com/office/drawing/2014/main" id="{64781020-B9EB-43AD-A88E-012FD462560B}"/>
              </a:ext>
            </a:extLst>
          </p:cNvPr>
          <p:cNvSpPr/>
          <p:nvPr/>
        </p:nvSpPr>
        <p:spPr>
          <a:xfrm>
            <a:off x="13941080" y="4428907"/>
            <a:ext cx="9109099" cy="4858186"/>
          </a:xfrm>
          <a:prstGeom prst="rect">
            <a:avLst/>
          </a:prstGeom>
          <a:noFill/>
          <a:ln w="38100">
            <a:solidFill>
              <a:srgbClr val="92D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кругленный прямоугольник 62">
            <a:extLst>
              <a:ext uri="{FF2B5EF4-FFF2-40B4-BE49-F238E27FC236}">
                <a16:creationId xmlns:a16="http://schemas.microsoft.com/office/drawing/2014/main" id="{CBC95CCB-DD52-49E6-A91E-70D328501D80}"/>
              </a:ext>
            </a:extLst>
          </p:cNvPr>
          <p:cNvSpPr/>
          <p:nvPr/>
        </p:nvSpPr>
        <p:spPr>
          <a:xfrm>
            <a:off x="16292240" y="8024605"/>
            <a:ext cx="1548000" cy="792000"/>
          </a:xfrm>
          <a:prstGeom prst="round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solidFill>
                  <a:schemeClr val="tx1"/>
                </a:solidFill>
              </a:rPr>
              <a:t>Модуль аналитической отчетности</a:t>
            </a:r>
          </a:p>
        </p:txBody>
      </p:sp>
      <p:cxnSp>
        <p:nvCxnSpPr>
          <p:cNvPr id="53" name="Прямая со стрелкой 64">
            <a:extLst>
              <a:ext uri="{FF2B5EF4-FFF2-40B4-BE49-F238E27FC236}">
                <a16:creationId xmlns:a16="http://schemas.microsoft.com/office/drawing/2014/main" id="{7B045EBE-A03D-4DA5-BC99-AD605BA00491}"/>
              </a:ext>
            </a:extLst>
          </p:cNvPr>
          <p:cNvCxnSpPr/>
          <p:nvPr/>
        </p:nvCxnSpPr>
        <p:spPr>
          <a:xfrm>
            <a:off x="17840240" y="8407911"/>
            <a:ext cx="468000" cy="0"/>
          </a:xfrm>
          <a:prstGeom prst="straightConnector1">
            <a:avLst/>
          </a:prstGeom>
          <a:ln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17B718CB-9F18-421B-9ECB-F69D774C0E66}"/>
              </a:ext>
            </a:extLst>
          </p:cNvPr>
          <p:cNvSpPr txBox="1"/>
          <p:nvPr/>
        </p:nvSpPr>
        <p:spPr>
          <a:xfrm>
            <a:off x="20701468" y="4001837"/>
            <a:ext cx="21359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Цифровой советчик</a:t>
            </a:r>
            <a:endParaRPr lang="ru-RU" sz="1300" dirty="0"/>
          </a:p>
        </p:txBody>
      </p:sp>
      <p:cxnSp>
        <p:nvCxnSpPr>
          <p:cNvPr id="55" name="Прямая со стрелкой 23">
            <a:extLst>
              <a:ext uri="{FF2B5EF4-FFF2-40B4-BE49-F238E27FC236}">
                <a16:creationId xmlns:a16="http://schemas.microsoft.com/office/drawing/2014/main" id="{0F2CD2E8-735D-4CDD-AD99-F135494D69D9}"/>
              </a:ext>
            </a:extLst>
          </p:cNvPr>
          <p:cNvCxnSpPr/>
          <p:nvPr/>
        </p:nvCxnSpPr>
        <p:spPr>
          <a:xfrm flipH="1">
            <a:off x="21212424" y="5820464"/>
            <a:ext cx="9180" cy="713882"/>
          </a:xfrm>
          <a:prstGeom prst="straightConnector1">
            <a:avLst/>
          </a:prstGeom>
          <a:ln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33">
            <a:extLst>
              <a:ext uri="{FF2B5EF4-FFF2-40B4-BE49-F238E27FC236}">
                <a16:creationId xmlns:a16="http://schemas.microsoft.com/office/drawing/2014/main" id="{3933E2D8-CEC9-4D6B-A18B-A310D1B9CD83}"/>
              </a:ext>
            </a:extLst>
          </p:cNvPr>
          <p:cNvCxnSpPr/>
          <p:nvPr/>
        </p:nvCxnSpPr>
        <p:spPr>
          <a:xfrm flipH="1">
            <a:off x="21995604" y="5424464"/>
            <a:ext cx="692820" cy="0"/>
          </a:xfrm>
          <a:prstGeom prst="straightConnector1">
            <a:avLst/>
          </a:prstGeom>
          <a:ln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72741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4729A7-750C-40EF-9C82-BA576FE740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ысокоуровневая схема обогащения руды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C6C02CB-F9E8-4353-A762-F2383AA0565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1254" t="26173" r="15899" b="14444"/>
          <a:stretch/>
        </p:blipFill>
        <p:spPr>
          <a:xfrm>
            <a:off x="12500810" y="3178093"/>
            <a:ext cx="8450179" cy="859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6295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5F11E4-2E1B-4759-84F5-651E050FB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истограмма извлечения меди</a:t>
            </a:r>
          </a:p>
        </p:txBody>
      </p:sp>
      <p:pic>
        <p:nvPicPr>
          <p:cNvPr id="4" name="Рисунок 2">
            <a:extLst>
              <a:ext uri="{FF2B5EF4-FFF2-40B4-BE49-F238E27FC236}">
                <a16:creationId xmlns:a16="http://schemas.microsoft.com/office/drawing/2014/main" id="{E40B0367-7611-4D9C-995E-328E34EC5A2B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7945" y="3686231"/>
            <a:ext cx="13632873" cy="7141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8961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4607BC-FC54-4795-8999-034D5C348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истограмма извлечения с кривой плотности нормального распределения</a:t>
            </a:r>
          </a:p>
        </p:txBody>
      </p:sp>
      <p:pic>
        <p:nvPicPr>
          <p:cNvPr id="4" name="Рисунок 4">
            <a:extLst>
              <a:ext uri="{FF2B5EF4-FFF2-40B4-BE49-F238E27FC236}">
                <a16:creationId xmlns:a16="http://schemas.microsoft.com/office/drawing/2014/main" id="{B644FE47-3E57-43B7-8D51-D5891F094498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4208" y="3839555"/>
            <a:ext cx="13660191" cy="707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27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4607BC-FC54-4795-8999-034D5C348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Цель: увеличить среднее значение извлечения и сузить разброс</a:t>
            </a:r>
          </a:p>
        </p:txBody>
      </p:sp>
      <p:pic>
        <p:nvPicPr>
          <p:cNvPr id="4" name="Рисунок 4">
            <a:extLst>
              <a:ext uri="{FF2B5EF4-FFF2-40B4-BE49-F238E27FC236}">
                <a16:creationId xmlns:a16="http://schemas.microsoft.com/office/drawing/2014/main" id="{B644FE47-3E57-43B7-8D51-D5891F094498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4208" y="3839555"/>
            <a:ext cx="13660191" cy="7070899"/>
          </a:xfrm>
          <a:prstGeom prst="rect">
            <a:avLst/>
          </a:prstGeom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C72E6CC2-9FC6-4998-9D7A-3EFD29E883C2}"/>
              </a:ext>
            </a:extLst>
          </p:cNvPr>
          <p:cNvSpPr/>
          <p:nvPr/>
        </p:nvSpPr>
        <p:spPr>
          <a:xfrm>
            <a:off x="14305217" y="5358064"/>
            <a:ext cx="7748387" cy="4022219"/>
          </a:xfrm>
          <a:custGeom>
            <a:avLst/>
            <a:gdLst>
              <a:gd name="connsiteX0" fmla="*/ 0 w 11646569"/>
              <a:gd name="connsiteY0" fmla="*/ 3465102 h 4331376"/>
              <a:gd name="connsiteX1" fmla="*/ 4539916 w 11646569"/>
              <a:gd name="connsiteY1" fmla="*/ 7 h 4331376"/>
              <a:gd name="connsiteX2" fmla="*/ 8710863 w 11646569"/>
              <a:gd name="connsiteY2" fmla="*/ 3433018 h 4331376"/>
              <a:gd name="connsiteX3" fmla="*/ 11646569 w 11646569"/>
              <a:gd name="connsiteY3" fmla="*/ 4331376 h 4331376"/>
              <a:gd name="connsiteX0" fmla="*/ 0 w 10147930"/>
              <a:gd name="connsiteY0" fmla="*/ 4012943 h 4333785"/>
              <a:gd name="connsiteX1" fmla="*/ 3041277 w 10147930"/>
              <a:gd name="connsiteY1" fmla="*/ 2416 h 4333785"/>
              <a:gd name="connsiteX2" fmla="*/ 7212224 w 10147930"/>
              <a:gd name="connsiteY2" fmla="*/ 3435427 h 4333785"/>
              <a:gd name="connsiteX3" fmla="*/ 10147930 w 10147930"/>
              <a:gd name="connsiteY3" fmla="*/ 4333785 h 4333785"/>
              <a:gd name="connsiteX0" fmla="*/ 0 w 10147930"/>
              <a:gd name="connsiteY0" fmla="*/ 4012943 h 4333785"/>
              <a:gd name="connsiteX1" fmla="*/ 3041277 w 10147930"/>
              <a:gd name="connsiteY1" fmla="*/ 2416 h 4333785"/>
              <a:gd name="connsiteX2" fmla="*/ 7212224 w 10147930"/>
              <a:gd name="connsiteY2" fmla="*/ 3435427 h 4333785"/>
              <a:gd name="connsiteX3" fmla="*/ 10147930 w 10147930"/>
              <a:gd name="connsiteY3" fmla="*/ 4333785 h 4333785"/>
              <a:gd name="connsiteX0" fmla="*/ 0 w 12181798"/>
              <a:gd name="connsiteY0" fmla="*/ 4142428 h 4334933"/>
              <a:gd name="connsiteX1" fmla="*/ 5075145 w 12181798"/>
              <a:gd name="connsiteY1" fmla="*/ 3564 h 4334933"/>
              <a:gd name="connsiteX2" fmla="*/ 9246092 w 12181798"/>
              <a:gd name="connsiteY2" fmla="*/ 3436575 h 4334933"/>
              <a:gd name="connsiteX3" fmla="*/ 12181798 w 12181798"/>
              <a:gd name="connsiteY3" fmla="*/ 4334933 h 4334933"/>
              <a:gd name="connsiteX0" fmla="*/ 443477 w 12625275"/>
              <a:gd name="connsiteY0" fmla="*/ 4142274 h 4436422"/>
              <a:gd name="connsiteX1" fmla="*/ 357840 w 12625275"/>
              <a:gd name="connsiteY1" fmla="*/ 4126232 h 4436422"/>
              <a:gd name="connsiteX2" fmla="*/ 5518622 w 12625275"/>
              <a:gd name="connsiteY2" fmla="*/ 3410 h 4436422"/>
              <a:gd name="connsiteX3" fmla="*/ 9689569 w 12625275"/>
              <a:gd name="connsiteY3" fmla="*/ 3436421 h 4436422"/>
              <a:gd name="connsiteX4" fmla="*/ 12625275 w 12625275"/>
              <a:gd name="connsiteY4" fmla="*/ 4334779 h 4436422"/>
              <a:gd name="connsiteX0" fmla="*/ 2621580 w 14803378"/>
              <a:gd name="connsiteY0" fmla="*/ 4144530 h 4600140"/>
              <a:gd name="connsiteX1" fmla="*/ 138120 w 14803378"/>
              <a:gd name="connsiteY1" fmla="*/ 4337036 h 4600140"/>
              <a:gd name="connsiteX2" fmla="*/ 7696725 w 14803378"/>
              <a:gd name="connsiteY2" fmla="*/ 5666 h 4600140"/>
              <a:gd name="connsiteX3" fmla="*/ 11867672 w 14803378"/>
              <a:gd name="connsiteY3" fmla="*/ 3438677 h 4600140"/>
              <a:gd name="connsiteX4" fmla="*/ 14803378 w 14803378"/>
              <a:gd name="connsiteY4" fmla="*/ 4337035 h 4600140"/>
              <a:gd name="connsiteX0" fmla="*/ 108 w 16891916"/>
              <a:gd name="connsiteY0" fmla="*/ 4946635 h 4948503"/>
              <a:gd name="connsiteX1" fmla="*/ 2226658 w 16891916"/>
              <a:gd name="connsiteY1" fmla="*/ 4337036 h 4948503"/>
              <a:gd name="connsiteX2" fmla="*/ 9785263 w 16891916"/>
              <a:gd name="connsiteY2" fmla="*/ 5666 h 4948503"/>
              <a:gd name="connsiteX3" fmla="*/ 13956210 w 16891916"/>
              <a:gd name="connsiteY3" fmla="*/ 3438677 h 4948503"/>
              <a:gd name="connsiteX4" fmla="*/ 16891916 w 16891916"/>
              <a:gd name="connsiteY4" fmla="*/ 4337035 h 4948503"/>
              <a:gd name="connsiteX0" fmla="*/ 27 w 16891835"/>
              <a:gd name="connsiteY0" fmla="*/ 4945529 h 4945529"/>
              <a:gd name="connsiteX1" fmla="*/ 6743905 w 16891835"/>
              <a:gd name="connsiteY1" fmla="*/ 4239678 h 4945529"/>
              <a:gd name="connsiteX2" fmla="*/ 9785182 w 16891835"/>
              <a:gd name="connsiteY2" fmla="*/ 4560 h 4945529"/>
              <a:gd name="connsiteX3" fmla="*/ 13956129 w 16891835"/>
              <a:gd name="connsiteY3" fmla="*/ 3437571 h 4945529"/>
              <a:gd name="connsiteX4" fmla="*/ 16891835 w 16891835"/>
              <a:gd name="connsiteY4" fmla="*/ 4335929 h 4945529"/>
              <a:gd name="connsiteX0" fmla="*/ 26 w 16891834"/>
              <a:gd name="connsiteY0" fmla="*/ 4941923 h 4941923"/>
              <a:gd name="connsiteX1" fmla="*/ 6743904 w 16891834"/>
              <a:gd name="connsiteY1" fmla="*/ 4236072 h 4941923"/>
              <a:gd name="connsiteX2" fmla="*/ 9785181 w 16891834"/>
              <a:gd name="connsiteY2" fmla="*/ 954 h 4941923"/>
              <a:gd name="connsiteX3" fmla="*/ 13206810 w 16891834"/>
              <a:gd name="connsiteY3" fmla="*/ 3851060 h 4941923"/>
              <a:gd name="connsiteX4" fmla="*/ 16891834 w 16891834"/>
              <a:gd name="connsiteY4" fmla="*/ 4332323 h 4941923"/>
              <a:gd name="connsiteX0" fmla="*/ 51 w 14023035"/>
              <a:gd name="connsiteY0" fmla="*/ 4588997 h 4670235"/>
              <a:gd name="connsiteX1" fmla="*/ 3875105 w 14023035"/>
              <a:gd name="connsiteY1" fmla="*/ 4236072 h 4670235"/>
              <a:gd name="connsiteX2" fmla="*/ 6916382 w 14023035"/>
              <a:gd name="connsiteY2" fmla="*/ 954 h 4670235"/>
              <a:gd name="connsiteX3" fmla="*/ 10338011 w 14023035"/>
              <a:gd name="connsiteY3" fmla="*/ 3851060 h 4670235"/>
              <a:gd name="connsiteX4" fmla="*/ 14023035 w 14023035"/>
              <a:gd name="connsiteY4" fmla="*/ 4332323 h 4670235"/>
              <a:gd name="connsiteX0" fmla="*/ 51 w 13958808"/>
              <a:gd name="connsiteY0" fmla="*/ 4588997 h 4733375"/>
              <a:gd name="connsiteX1" fmla="*/ 3875105 w 13958808"/>
              <a:gd name="connsiteY1" fmla="*/ 4236072 h 4733375"/>
              <a:gd name="connsiteX2" fmla="*/ 6916382 w 13958808"/>
              <a:gd name="connsiteY2" fmla="*/ 954 h 4733375"/>
              <a:gd name="connsiteX3" fmla="*/ 10338011 w 13958808"/>
              <a:gd name="connsiteY3" fmla="*/ 3851060 h 4733375"/>
              <a:gd name="connsiteX4" fmla="*/ 13958808 w 13958808"/>
              <a:gd name="connsiteY4" fmla="*/ 4733375 h 4733375"/>
              <a:gd name="connsiteX0" fmla="*/ 51 w 13958808"/>
              <a:gd name="connsiteY0" fmla="*/ 4588697 h 4733075"/>
              <a:gd name="connsiteX1" fmla="*/ 3875105 w 13958808"/>
              <a:gd name="connsiteY1" fmla="*/ 4235772 h 4733075"/>
              <a:gd name="connsiteX2" fmla="*/ 6916382 w 13958808"/>
              <a:gd name="connsiteY2" fmla="*/ 654 h 4733075"/>
              <a:gd name="connsiteX3" fmla="*/ 8989236 w 13958808"/>
              <a:gd name="connsiteY3" fmla="*/ 3914928 h 4733075"/>
              <a:gd name="connsiteX4" fmla="*/ 13958808 w 13958808"/>
              <a:gd name="connsiteY4" fmla="*/ 4733075 h 4733075"/>
              <a:gd name="connsiteX0" fmla="*/ 34 w 13958791"/>
              <a:gd name="connsiteY0" fmla="*/ 4588125 h 4732503"/>
              <a:gd name="connsiteX1" fmla="*/ 5480774 w 13958791"/>
              <a:gd name="connsiteY1" fmla="*/ 4026652 h 4732503"/>
              <a:gd name="connsiteX2" fmla="*/ 6916365 w 13958791"/>
              <a:gd name="connsiteY2" fmla="*/ 82 h 4732503"/>
              <a:gd name="connsiteX3" fmla="*/ 8989219 w 13958791"/>
              <a:gd name="connsiteY3" fmla="*/ 3914356 h 4732503"/>
              <a:gd name="connsiteX4" fmla="*/ 13958791 w 13958791"/>
              <a:gd name="connsiteY4" fmla="*/ 4732503 h 4732503"/>
              <a:gd name="connsiteX0" fmla="*/ 58 w 11946357"/>
              <a:gd name="connsiteY0" fmla="*/ 4539999 h 4732503"/>
              <a:gd name="connsiteX1" fmla="*/ 3468340 w 11946357"/>
              <a:gd name="connsiteY1" fmla="*/ 4026652 h 4732503"/>
              <a:gd name="connsiteX2" fmla="*/ 4903931 w 11946357"/>
              <a:gd name="connsiteY2" fmla="*/ 82 h 4732503"/>
              <a:gd name="connsiteX3" fmla="*/ 6976785 w 11946357"/>
              <a:gd name="connsiteY3" fmla="*/ 3914356 h 4732503"/>
              <a:gd name="connsiteX4" fmla="*/ 11946357 w 11946357"/>
              <a:gd name="connsiteY4" fmla="*/ 4732503 h 4732503"/>
              <a:gd name="connsiteX0" fmla="*/ 58 w 9826853"/>
              <a:gd name="connsiteY0" fmla="*/ 4539999 h 4572082"/>
              <a:gd name="connsiteX1" fmla="*/ 3468340 w 9826853"/>
              <a:gd name="connsiteY1" fmla="*/ 4026652 h 4572082"/>
              <a:gd name="connsiteX2" fmla="*/ 4903931 w 9826853"/>
              <a:gd name="connsiteY2" fmla="*/ 82 h 4572082"/>
              <a:gd name="connsiteX3" fmla="*/ 6976785 w 9826853"/>
              <a:gd name="connsiteY3" fmla="*/ 3914356 h 4572082"/>
              <a:gd name="connsiteX4" fmla="*/ 9826853 w 9826853"/>
              <a:gd name="connsiteY4" fmla="*/ 4572082 h 4572082"/>
              <a:gd name="connsiteX0" fmla="*/ 58 w 9826853"/>
              <a:gd name="connsiteY0" fmla="*/ 4540023 h 4572106"/>
              <a:gd name="connsiteX1" fmla="*/ 3468340 w 9826853"/>
              <a:gd name="connsiteY1" fmla="*/ 4026676 h 4572106"/>
              <a:gd name="connsiteX2" fmla="*/ 4903931 w 9826853"/>
              <a:gd name="connsiteY2" fmla="*/ 106 h 4572106"/>
              <a:gd name="connsiteX3" fmla="*/ 6719876 w 9826853"/>
              <a:gd name="connsiteY3" fmla="*/ 3898338 h 4572106"/>
              <a:gd name="connsiteX4" fmla="*/ 9826853 w 9826853"/>
              <a:gd name="connsiteY4" fmla="*/ 4572106 h 4572106"/>
              <a:gd name="connsiteX0" fmla="*/ 58 w 10340673"/>
              <a:gd name="connsiteY0" fmla="*/ 4540023 h 4668359"/>
              <a:gd name="connsiteX1" fmla="*/ 3468340 w 10340673"/>
              <a:gd name="connsiteY1" fmla="*/ 4026676 h 4668359"/>
              <a:gd name="connsiteX2" fmla="*/ 4903931 w 10340673"/>
              <a:gd name="connsiteY2" fmla="*/ 106 h 4668359"/>
              <a:gd name="connsiteX3" fmla="*/ 6719876 w 10340673"/>
              <a:gd name="connsiteY3" fmla="*/ 3898338 h 4668359"/>
              <a:gd name="connsiteX4" fmla="*/ 10340673 w 10340673"/>
              <a:gd name="connsiteY4" fmla="*/ 4668359 h 4668359"/>
              <a:gd name="connsiteX0" fmla="*/ 58 w 10340673"/>
              <a:gd name="connsiteY0" fmla="*/ 4523982 h 4652318"/>
              <a:gd name="connsiteX1" fmla="*/ 3468340 w 10340673"/>
              <a:gd name="connsiteY1" fmla="*/ 4010635 h 4652318"/>
              <a:gd name="connsiteX2" fmla="*/ 5139432 w 10340673"/>
              <a:gd name="connsiteY2" fmla="*/ 108 h 4652318"/>
              <a:gd name="connsiteX3" fmla="*/ 6719876 w 10340673"/>
              <a:gd name="connsiteY3" fmla="*/ 3882297 h 4652318"/>
              <a:gd name="connsiteX4" fmla="*/ 10340673 w 10340673"/>
              <a:gd name="connsiteY4" fmla="*/ 4652318 h 4652318"/>
              <a:gd name="connsiteX0" fmla="*/ 58 w 10340673"/>
              <a:gd name="connsiteY0" fmla="*/ 4523876 h 4652212"/>
              <a:gd name="connsiteX1" fmla="*/ 3468340 w 10340673"/>
              <a:gd name="connsiteY1" fmla="*/ 4010529 h 4652212"/>
              <a:gd name="connsiteX2" fmla="*/ 5139432 w 10340673"/>
              <a:gd name="connsiteY2" fmla="*/ 2 h 4652212"/>
              <a:gd name="connsiteX3" fmla="*/ 6741287 w 10340673"/>
              <a:gd name="connsiteY3" fmla="*/ 4026570 h 4652212"/>
              <a:gd name="connsiteX4" fmla="*/ 10340673 w 10340673"/>
              <a:gd name="connsiteY4" fmla="*/ 4652212 h 4652212"/>
              <a:gd name="connsiteX0" fmla="*/ 57 w 10340673"/>
              <a:gd name="connsiteY0" fmla="*/ 4636170 h 4652212"/>
              <a:gd name="connsiteX1" fmla="*/ 3468340 w 10340673"/>
              <a:gd name="connsiteY1" fmla="*/ 4010529 h 4652212"/>
              <a:gd name="connsiteX2" fmla="*/ 5139432 w 10340673"/>
              <a:gd name="connsiteY2" fmla="*/ 2 h 4652212"/>
              <a:gd name="connsiteX3" fmla="*/ 6741287 w 10340673"/>
              <a:gd name="connsiteY3" fmla="*/ 4026570 h 4652212"/>
              <a:gd name="connsiteX4" fmla="*/ 10340673 w 10340673"/>
              <a:gd name="connsiteY4" fmla="*/ 4652212 h 4652212"/>
              <a:gd name="connsiteX0" fmla="*/ 57 w 10340673"/>
              <a:gd name="connsiteY0" fmla="*/ 4636170 h 4652212"/>
              <a:gd name="connsiteX1" fmla="*/ 3468340 w 10340673"/>
              <a:gd name="connsiteY1" fmla="*/ 4010529 h 4652212"/>
              <a:gd name="connsiteX2" fmla="*/ 5032386 w 10340673"/>
              <a:gd name="connsiteY2" fmla="*/ 2 h 4652212"/>
              <a:gd name="connsiteX3" fmla="*/ 6741287 w 10340673"/>
              <a:gd name="connsiteY3" fmla="*/ 4026570 h 4652212"/>
              <a:gd name="connsiteX4" fmla="*/ 10340673 w 10340673"/>
              <a:gd name="connsiteY4" fmla="*/ 4652212 h 4652212"/>
              <a:gd name="connsiteX0" fmla="*/ 57 w 10340673"/>
              <a:gd name="connsiteY0" fmla="*/ 4636194 h 4652236"/>
              <a:gd name="connsiteX1" fmla="*/ 3468340 w 10340673"/>
              <a:gd name="connsiteY1" fmla="*/ 4010553 h 4652236"/>
              <a:gd name="connsiteX2" fmla="*/ 5032386 w 10340673"/>
              <a:gd name="connsiteY2" fmla="*/ 26 h 4652236"/>
              <a:gd name="connsiteX3" fmla="*/ 6784105 w 10340673"/>
              <a:gd name="connsiteY3" fmla="*/ 3946384 h 4652236"/>
              <a:gd name="connsiteX4" fmla="*/ 10340673 w 10340673"/>
              <a:gd name="connsiteY4" fmla="*/ 4652236 h 4652236"/>
              <a:gd name="connsiteX0" fmla="*/ 64 w 10340680"/>
              <a:gd name="connsiteY0" fmla="*/ 4636614 h 4652656"/>
              <a:gd name="connsiteX1" fmla="*/ 3190029 w 10340680"/>
              <a:gd name="connsiteY1" fmla="*/ 3690131 h 4652656"/>
              <a:gd name="connsiteX2" fmla="*/ 5032393 w 10340680"/>
              <a:gd name="connsiteY2" fmla="*/ 446 h 4652656"/>
              <a:gd name="connsiteX3" fmla="*/ 6784112 w 10340680"/>
              <a:gd name="connsiteY3" fmla="*/ 3946804 h 4652656"/>
              <a:gd name="connsiteX4" fmla="*/ 10340680 w 10340680"/>
              <a:gd name="connsiteY4" fmla="*/ 4652656 h 4652656"/>
              <a:gd name="connsiteX0" fmla="*/ 64 w 10340680"/>
              <a:gd name="connsiteY0" fmla="*/ 4636197 h 4652239"/>
              <a:gd name="connsiteX1" fmla="*/ 3190029 w 10340680"/>
              <a:gd name="connsiteY1" fmla="*/ 3689714 h 4652239"/>
              <a:gd name="connsiteX2" fmla="*/ 5032393 w 10340680"/>
              <a:gd name="connsiteY2" fmla="*/ 29 h 4652239"/>
              <a:gd name="connsiteX3" fmla="*/ 7126657 w 10340680"/>
              <a:gd name="connsiteY3" fmla="*/ 3753882 h 4652239"/>
              <a:gd name="connsiteX4" fmla="*/ 10340680 w 10340680"/>
              <a:gd name="connsiteY4" fmla="*/ 4652239 h 4652239"/>
              <a:gd name="connsiteX0" fmla="*/ 64 w 10340680"/>
              <a:gd name="connsiteY0" fmla="*/ 4880379 h 4896421"/>
              <a:gd name="connsiteX1" fmla="*/ 3190029 w 10340680"/>
              <a:gd name="connsiteY1" fmla="*/ 3933896 h 4896421"/>
              <a:gd name="connsiteX2" fmla="*/ 4925348 w 10340680"/>
              <a:gd name="connsiteY2" fmla="*/ 26 h 4896421"/>
              <a:gd name="connsiteX3" fmla="*/ 7126657 w 10340680"/>
              <a:gd name="connsiteY3" fmla="*/ 3998064 h 4896421"/>
              <a:gd name="connsiteX4" fmla="*/ 10340680 w 10340680"/>
              <a:gd name="connsiteY4" fmla="*/ 4896421 h 4896421"/>
              <a:gd name="connsiteX0" fmla="*/ 64 w 10340680"/>
              <a:gd name="connsiteY0" fmla="*/ 4357130 h 4373172"/>
              <a:gd name="connsiteX1" fmla="*/ 3190029 w 10340680"/>
              <a:gd name="connsiteY1" fmla="*/ 3410647 h 4373172"/>
              <a:gd name="connsiteX2" fmla="*/ 4925348 w 10340680"/>
              <a:gd name="connsiteY2" fmla="*/ 32 h 4373172"/>
              <a:gd name="connsiteX3" fmla="*/ 7126657 w 10340680"/>
              <a:gd name="connsiteY3" fmla="*/ 3474815 h 4373172"/>
              <a:gd name="connsiteX4" fmla="*/ 10340680 w 10340680"/>
              <a:gd name="connsiteY4" fmla="*/ 4373172 h 4373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40680" h="4373172">
                <a:moveTo>
                  <a:pt x="64" y="4357130"/>
                </a:moveTo>
                <a:cubicBezTo>
                  <a:pt x="-14209" y="4354456"/>
                  <a:pt x="2344171" y="4100458"/>
                  <a:pt x="3190029" y="3410647"/>
                </a:cubicBezTo>
                <a:cubicBezTo>
                  <a:pt x="4035887" y="2720836"/>
                  <a:pt x="4269243" y="-10663"/>
                  <a:pt x="4925348" y="32"/>
                </a:cubicBezTo>
                <a:cubicBezTo>
                  <a:pt x="5581453" y="10727"/>
                  <a:pt x="5942215" y="2752920"/>
                  <a:pt x="7126657" y="3474815"/>
                </a:cubicBezTo>
                <a:cubicBezTo>
                  <a:pt x="8311099" y="4196710"/>
                  <a:pt x="9816638" y="4276920"/>
                  <a:pt x="10340680" y="4373172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07FB320-3520-4232-B991-C5C4B74F7C2E}"/>
              </a:ext>
            </a:extLst>
          </p:cNvPr>
          <p:cNvCxnSpPr>
            <a:cxnSpLocks/>
          </p:cNvCxnSpPr>
          <p:nvPr/>
        </p:nvCxnSpPr>
        <p:spPr>
          <a:xfrm>
            <a:off x="16924421" y="6721642"/>
            <a:ext cx="0" cy="3382478"/>
          </a:xfrm>
          <a:prstGeom prst="line">
            <a:avLst/>
          </a:prstGeom>
          <a:ln w="5080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53D33A6-0DEA-44C5-AD39-FAB0537738B0}"/>
              </a:ext>
            </a:extLst>
          </p:cNvPr>
          <p:cNvCxnSpPr>
            <a:cxnSpLocks/>
          </p:cNvCxnSpPr>
          <p:nvPr/>
        </p:nvCxnSpPr>
        <p:spPr>
          <a:xfrm>
            <a:off x="17975179" y="5358064"/>
            <a:ext cx="7619" cy="4746056"/>
          </a:xfrm>
          <a:prstGeom prst="line">
            <a:avLst/>
          </a:prstGeom>
          <a:ln w="508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7B21953-113D-4B8C-94A6-7A85754E00DB}"/>
              </a:ext>
            </a:extLst>
          </p:cNvPr>
          <p:cNvCxnSpPr>
            <a:cxnSpLocks/>
          </p:cNvCxnSpPr>
          <p:nvPr/>
        </p:nvCxnSpPr>
        <p:spPr>
          <a:xfrm>
            <a:off x="16924421" y="9181576"/>
            <a:ext cx="1074821" cy="0"/>
          </a:xfrm>
          <a:prstGeom prst="straightConnector1">
            <a:avLst/>
          </a:prstGeom>
          <a:ln w="381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9DF90B53-C42D-4929-BC99-E5DEA1D17ED3}"/>
              </a:ext>
            </a:extLst>
          </p:cNvPr>
          <p:cNvSpPr/>
          <p:nvPr/>
        </p:nvSpPr>
        <p:spPr>
          <a:xfrm>
            <a:off x="16700393" y="7452200"/>
            <a:ext cx="448056" cy="265176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D84DC560-A3AE-4E47-9F52-4C21C148A6A0}"/>
              </a:ext>
            </a:extLst>
          </p:cNvPr>
          <p:cNvSpPr/>
          <p:nvPr/>
        </p:nvSpPr>
        <p:spPr>
          <a:xfrm rot="10800000">
            <a:off x="19041176" y="7488776"/>
            <a:ext cx="448056" cy="265176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25125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92543-2759-4F2A-8407-C20F3DEF8D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иаграмма </a:t>
            </a:r>
            <a:r>
              <a:rPr lang="en-US" dirty="0"/>
              <a:t>boxplot </a:t>
            </a:r>
            <a:r>
              <a:rPr lang="ru-RU" dirty="0"/>
              <a:t>для извлечения</a:t>
            </a:r>
          </a:p>
        </p:txBody>
      </p:sp>
      <p:pic>
        <p:nvPicPr>
          <p:cNvPr id="4" name="Рисунок 6">
            <a:extLst>
              <a:ext uri="{FF2B5EF4-FFF2-40B4-BE49-F238E27FC236}">
                <a16:creationId xmlns:a16="http://schemas.microsoft.com/office/drawing/2014/main" id="{2F9E666E-F029-4733-9082-DCB120D16AAF}"/>
              </a:ext>
            </a:extLst>
          </p:cNvPr>
          <p:cNvPicPr/>
          <p:nvPr/>
        </p:nvPicPr>
        <p:blipFill rotWithShape="1">
          <a:blip r:embed="rId2"/>
          <a:srcRect l="11749" t="22898" r="12581" b="23356"/>
          <a:stretch/>
        </p:blipFill>
        <p:spPr bwMode="auto">
          <a:xfrm>
            <a:off x="10680152" y="3636818"/>
            <a:ext cx="12818918" cy="698269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9845151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865CF9-89C7-4A1D-8DE9-C88B68E09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истограмма </a:t>
            </a:r>
            <a:r>
              <a:rPr lang="ru-RU" dirty="0" err="1"/>
              <a:t>ксантогената</a:t>
            </a:r>
            <a:endParaRPr lang="ru-RU" dirty="0"/>
          </a:p>
        </p:txBody>
      </p:sp>
      <p:pic>
        <p:nvPicPr>
          <p:cNvPr id="4" name="Рисунок 9">
            <a:extLst>
              <a:ext uri="{FF2B5EF4-FFF2-40B4-BE49-F238E27FC236}">
                <a16:creationId xmlns:a16="http://schemas.microsoft.com/office/drawing/2014/main" id="{A6588B1B-3DDE-4CD1-A9A4-AA6DFE00C92E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0" t="5921" r="5048" b="8240"/>
          <a:stretch/>
        </p:blipFill>
        <p:spPr>
          <a:xfrm>
            <a:off x="10681854" y="3449781"/>
            <a:ext cx="13362709" cy="6816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542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0E4875-9DC5-47B7-9727-6561A9D73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звлечение при различных количествах </a:t>
            </a:r>
            <a:r>
              <a:rPr lang="ru-RU" dirty="0" err="1"/>
              <a:t>ксантогената</a:t>
            </a:r>
            <a:r>
              <a:rPr lang="ru-RU" dirty="0"/>
              <a:t> </a:t>
            </a:r>
          </a:p>
        </p:txBody>
      </p:sp>
      <p:pic>
        <p:nvPicPr>
          <p:cNvPr id="4" name="Рисунок 11">
            <a:extLst>
              <a:ext uri="{FF2B5EF4-FFF2-40B4-BE49-F238E27FC236}">
                <a16:creationId xmlns:a16="http://schemas.microsoft.com/office/drawing/2014/main" id="{72126734-3582-4CCF-902D-DB650E883758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5" t="14925" b="16155"/>
          <a:stretch/>
        </p:blipFill>
        <p:spPr>
          <a:xfrm>
            <a:off x="10577945" y="3496686"/>
            <a:ext cx="13487400" cy="498229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292B6A9-6A02-4549-9D5C-DC72D6875F23}"/>
              </a:ext>
            </a:extLst>
          </p:cNvPr>
          <p:cNvSpPr txBox="1"/>
          <p:nvPr/>
        </p:nvSpPr>
        <p:spPr>
          <a:xfrm>
            <a:off x="11637818" y="8692180"/>
            <a:ext cx="28055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err="1"/>
              <a:t>Ксантогенат</a:t>
            </a:r>
            <a:r>
              <a:rPr lang="ru-RU" sz="2000" dirty="0"/>
              <a:t> </a:t>
            </a:r>
            <a:r>
              <a:rPr lang="en-US" sz="2000" dirty="0"/>
              <a:t>~</a:t>
            </a:r>
            <a:r>
              <a:rPr lang="ru-RU" sz="2000" dirty="0"/>
              <a:t>10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154A95-92AE-4989-A14E-E9C74F88E0FA}"/>
              </a:ext>
            </a:extLst>
          </p:cNvPr>
          <p:cNvSpPr txBox="1"/>
          <p:nvPr/>
        </p:nvSpPr>
        <p:spPr>
          <a:xfrm>
            <a:off x="15177654" y="8692180"/>
            <a:ext cx="28055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err="1"/>
              <a:t>Ксантогенат</a:t>
            </a:r>
            <a:r>
              <a:rPr lang="ru-RU" sz="2000" dirty="0"/>
              <a:t> </a:t>
            </a:r>
            <a:r>
              <a:rPr lang="en-US" sz="2000" dirty="0"/>
              <a:t>~</a:t>
            </a:r>
            <a:r>
              <a:rPr lang="ru-RU" sz="2000" dirty="0"/>
              <a:t> 2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194BBC7-6707-4D42-82AC-8198EFB2D9FE}"/>
              </a:ext>
            </a:extLst>
          </p:cNvPr>
          <p:cNvSpPr txBox="1"/>
          <p:nvPr/>
        </p:nvSpPr>
        <p:spPr>
          <a:xfrm>
            <a:off x="18862963" y="8692180"/>
            <a:ext cx="28055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err="1"/>
              <a:t>Ксантогенат</a:t>
            </a:r>
            <a:r>
              <a:rPr lang="ru-RU" sz="2000" dirty="0"/>
              <a:t> </a:t>
            </a:r>
            <a:r>
              <a:rPr lang="en-US" sz="2000" dirty="0"/>
              <a:t>~</a:t>
            </a:r>
            <a:r>
              <a:rPr lang="ru-RU" sz="2000" dirty="0"/>
              <a:t> 40</a:t>
            </a:r>
          </a:p>
        </p:txBody>
      </p:sp>
    </p:spTree>
    <p:extLst>
      <p:ext uri="{BB962C8B-B14F-4D97-AF65-F5344CB8AC3E}">
        <p14:creationId xmlns:p14="http://schemas.microsoft.com/office/powerpoint/2010/main" val="43498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cPk.XtRUKKqKRVmwobUw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14</TotalTime>
  <Words>173</Words>
  <Application>Microsoft Office PowerPoint</Application>
  <PresentationFormat>Custom</PresentationFormat>
  <Paragraphs>44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Lato</vt:lpstr>
      <vt:lpstr>Тема Office</vt:lpstr>
      <vt:lpstr>think-cell Slide</vt:lpstr>
      <vt:lpstr>Цифровые советчики на обогатительном переделе</vt:lpstr>
      <vt:lpstr>Архитектура цифрового советчика</vt:lpstr>
      <vt:lpstr>Высокоуровневая схема обогащения руды</vt:lpstr>
      <vt:lpstr>Гистограмма извлечения меди</vt:lpstr>
      <vt:lpstr>Гистограмма извлечения с кривой плотности нормального распределения</vt:lpstr>
      <vt:lpstr>Цель: увеличить среднее значение извлечения и сузить разброс</vt:lpstr>
      <vt:lpstr>Диаграмма boxplot для извлечения</vt:lpstr>
      <vt:lpstr>Гистограмма ксантогената</vt:lpstr>
      <vt:lpstr>Извлечение при различных количествах ксантогената </vt:lpstr>
      <vt:lpstr>Гистограмма переработки руды (т/час)</vt:lpstr>
      <vt:lpstr>Извлечение при различной переработке</vt:lpstr>
      <vt:lpstr>Фрагмент дерева решений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</dc:creator>
  <cp:revision>12</cp:revision>
  <dcterms:created xsi:type="dcterms:W3CDTF">2020-12-18T11:24:16Z</dcterms:created>
  <dcterms:modified xsi:type="dcterms:W3CDTF">2021-05-20T15:30:54Z</dcterms:modified>
</cp:coreProperties>
</file>